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9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3"/>
  </p:sldMasterIdLst>
  <p:notesMasterIdLst>
    <p:notesMasterId r:id="rId5"/>
  </p:notesMasterIdLst>
  <p:handoutMasterIdLst>
    <p:handoutMasterId r:id="rId6"/>
  </p:handoutMasterIdLst>
  <p:sldIdLst>
    <p:sldId id="2147483124" r:id="rId4"/>
  </p:sldIdLst>
  <p:sldSz cx="12192000" cy="6858000"/>
  <p:notesSz cx="6858000" cy="9144000"/>
  <p:embeddedFontLst>
    <p:embeddedFont>
      <p:font typeface="Apis For Office" panose="020B0504010101010104" pitchFamily="34" charset="0"/>
      <p:regular r:id="rId7"/>
      <p:bold r:id="rId8"/>
      <p:italic r:id="rId9"/>
      <p:boldItalic r:id="rId10"/>
    </p:embeddedFont>
    <p:embeddedFont>
      <p:font typeface="Apis For Office Light" panose="020B0404010101010104" pitchFamily="34" charset="0"/>
      <p:regular r:id="rId11"/>
      <p:italic r:id="rId1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444" autoAdjust="0"/>
  </p:normalViewPr>
  <p:slideViewPr>
    <p:cSldViewPr snapToGrid="0" showGuides="1">
      <p:cViewPr varScale="1">
        <p:scale>
          <a:sx n="111" d="100"/>
          <a:sy n="111" d="100"/>
        </p:scale>
        <p:origin x="59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font" Target="fonts/font5.fntdata"/><Relationship Id="rId5" Type="http://schemas.openxmlformats.org/officeDocument/2006/relationships/notesMaster" Target="notesMasters/notesMaster1.xml"/><Relationship Id="rId15" Type="http://schemas.openxmlformats.org/officeDocument/2006/relationships/theme" Target="theme/theme1.xml"/><Relationship Id="rId10" Type="http://schemas.openxmlformats.org/officeDocument/2006/relationships/font" Target="fonts/font4.fntdata"/><Relationship Id="rId4" Type="http://schemas.openxmlformats.org/officeDocument/2006/relationships/slide" Target="slides/slide1.xml"/><Relationship Id="rId9" Type="http://schemas.openxmlformats.org/officeDocument/2006/relationships/font" Target="fonts/font3.fntdata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QMKR (Martin Karlsson)" userId="7fbc46da-be70-47a2-9a0d-9c95923ecc09" providerId="ADAL" clId="{63FCA28B-ADE0-414A-AC61-F8F6DDFBC9B9}"/>
    <pc:docChg chg="delSld delMainMaster">
      <pc:chgData name="QMKR (Martin Karlsson)" userId="7fbc46da-be70-47a2-9a0d-9c95923ecc09" providerId="ADAL" clId="{63FCA28B-ADE0-414A-AC61-F8F6DDFBC9B9}" dt="2025-10-08T15:31:24.300" v="1" actId="47"/>
      <pc:docMkLst>
        <pc:docMk/>
      </pc:docMkLst>
      <pc:sldChg chg="del">
        <pc:chgData name="QMKR (Martin Karlsson)" userId="7fbc46da-be70-47a2-9a0d-9c95923ecc09" providerId="ADAL" clId="{63FCA28B-ADE0-414A-AC61-F8F6DDFBC9B9}" dt="2025-10-08T15:31:24.300" v="1" actId="47"/>
        <pc:sldMkLst>
          <pc:docMk/>
          <pc:sldMk cId="565396317" sldId="256"/>
        </pc:sldMkLst>
      </pc:sldChg>
      <pc:sldChg chg="del">
        <pc:chgData name="QMKR (Martin Karlsson)" userId="7fbc46da-be70-47a2-9a0d-9c95923ecc09" providerId="ADAL" clId="{63FCA28B-ADE0-414A-AC61-F8F6DDFBC9B9}" dt="2025-10-08T15:31:21.230" v="0" actId="47"/>
        <pc:sldMkLst>
          <pc:docMk/>
          <pc:sldMk cId="3739816701" sldId="259"/>
        </pc:sldMkLst>
      </pc:sldChg>
      <pc:sldChg chg="del">
        <pc:chgData name="QMKR (Martin Karlsson)" userId="7fbc46da-be70-47a2-9a0d-9c95923ecc09" providerId="ADAL" clId="{63FCA28B-ADE0-414A-AC61-F8F6DDFBC9B9}" dt="2025-10-08T15:31:24.300" v="1" actId="47"/>
        <pc:sldMkLst>
          <pc:docMk/>
          <pc:sldMk cId="3272722035" sldId="275"/>
        </pc:sldMkLst>
      </pc:sldChg>
      <pc:sldChg chg="del">
        <pc:chgData name="QMKR (Martin Karlsson)" userId="7fbc46da-be70-47a2-9a0d-9c95923ecc09" providerId="ADAL" clId="{63FCA28B-ADE0-414A-AC61-F8F6DDFBC9B9}" dt="2025-10-08T15:31:24.300" v="1" actId="47"/>
        <pc:sldMkLst>
          <pc:docMk/>
          <pc:sldMk cId="1432732683" sldId="276"/>
        </pc:sldMkLst>
      </pc:sldChg>
      <pc:sldChg chg="del">
        <pc:chgData name="QMKR (Martin Karlsson)" userId="7fbc46da-be70-47a2-9a0d-9c95923ecc09" providerId="ADAL" clId="{63FCA28B-ADE0-414A-AC61-F8F6DDFBC9B9}" dt="2025-10-08T15:31:24.300" v="1" actId="47"/>
        <pc:sldMkLst>
          <pc:docMk/>
          <pc:sldMk cId="3503388784" sldId="2147483125"/>
        </pc:sldMkLst>
      </pc:sldChg>
      <pc:sldChg chg="del">
        <pc:chgData name="QMKR (Martin Karlsson)" userId="7fbc46da-be70-47a2-9a0d-9c95923ecc09" providerId="ADAL" clId="{63FCA28B-ADE0-414A-AC61-F8F6DDFBC9B9}" dt="2025-10-08T15:31:24.300" v="1" actId="47"/>
        <pc:sldMkLst>
          <pc:docMk/>
          <pc:sldMk cId="25602526" sldId="2147483128"/>
        </pc:sldMkLst>
      </pc:sldChg>
      <pc:sldChg chg="del">
        <pc:chgData name="QMKR (Martin Karlsson)" userId="7fbc46da-be70-47a2-9a0d-9c95923ecc09" providerId="ADAL" clId="{63FCA28B-ADE0-414A-AC61-F8F6DDFBC9B9}" dt="2025-10-08T15:31:24.300" v="1" actId="47"/>
        <pc:sldMkLst>
          <pc:docMk/>
          <pc:sldMk cId="316634883" sldId="2147483129"/>
        </pc:sldMkLst>
      </pc:sldChg>
      <pc:sldChg chg="del">
        <pc:chgData name="QMKR (Martin Karlsson)" userId="7fbc46da-be70-47a2-9a0d-9c95923ecc09" providerId="ADAL" clId="{63FCA28B-ADE0-414A-AC61-F8F6DDFBC9B9}" dt="2025-10-08T15:31:24.300" v="1" actId="47"/>
        <pc:sldMkLst>
          <pc:docMk/>
          <pc:sldMk cId="2293498781" sldId="2147483130"/>
        </pc:sldMkLst>
      </pc:sldChg>
      <pc:sldChg chg="del">
        <pc:chgData name="QMKR (Martin Karlsson)" userId="7fbc46da-be70-47a2-9a0d-9c95923ecc09" providerId="ADAL" clId="{63FCA28B-ADE0-414A-AC61-F8F6DDFBC9B9}" dt="2025-10-08T15:31:24.300" v="1" actId="47"/>
        <pc:sldMkLst>
          <pc:docMk/>
          <pc:sldMk cId="2897735490" sldId="2147483131"/>
        </pc:sldMkLst>
      </pc:sldChg>
      <pc:sldChg chg="del">
        <pc:chgData name="QMKR (Martin Karlsson)" userId="7fbc46da-be70-47a2-9a0d-9c95923ecc09" providerId="ADAL" clId="{63FCA28B-ADE0-414A-AC61-F8F6DDFBC9B9}" dt="2025-10-08T15:31:24.300" v="1" actId="47"/>
        <pc:sldMkLst>
          <pc:docMk/>
          <pc:sldMk cId="81563474" sldId="2147483133"/>
        </pc:sldMkLst>
      </pc:sldChg>
      <pc:sldChg chg="del">
        <pc:chgData name="QMKR (Martin Karlsson)" userId="7fbc46da-be70-47a2-9a0d-9c95923ecc09" providerId="ADAL" clId="{63FCA28B-ADE0-414A-AC61-F8F6DDFBC9B9}" dt="2025-10-08T15:31:24.300" v="1" actId="47"/>
        <pc:sldMkLst>
          <pc:docMk/>
          <pc:sldMk cId="3298186000" sldId="2147483135"/>
        </pc:sldMkLst>
      </pc:sldChg>
      <pc:sldMasterChg chg="del delSldLayout">
        <pc:chgData name="QMKR (Martin Karlsson)" userId="7fbc46da-be70-47a2-9a0d-9c95923ecc09" providerId="ADAL" clId="{63FCA28B-ADE0-414A-AC61-F8F6DDFBC9B9}" dt="2025-10-08T15:31:24.300" v="1" actId="47"/>
        <pc:sldMasterMkLst>
          <pc:docMk/>
          <pc:sldMasterMk cId="2634184663" sldId="2147483809"/>
        </pc:sldMasterMkLst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634184663" sldId="2147483809"/>
            <pc:sldLayoutMk cId="2627287503" sldId="2147483810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634184663" sldId="2147483809"/>
            <pc:sldLayoutMk cId="671896723" sldId="2147483811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634184663" sldId="2147483809"/>
            <pc:sldLayoutMk cId="4290897126" sldId="2147483812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634184663" sldId="2147483809"/>
            <pc:sldLayoutMk cId="3763884619" sldId="2147483813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634184663" sldId="2147483809"/>
            <pc:sldLayoutMk cId="326455203" sldId="2147483814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634184663" sldId="2147483809"/>
            <pc:sldLayoutMk cId="3887910782" sldId="2147483815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634184663" sldId="2147483809"/>
            <pc:sldLayoutMk cId="3632169954" sldId="2147483816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634184663" sldId="2147483809"/>
            <pc:sldLayoutMk cId="3276992819" sldId="2147483817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634184663" sldId="2147483809"/>
            <pc:sldLayoutMk cId="433275580" sldId="2147483818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634184663" sldId="2147483809"/>
            <pc:sldLayoutMk cId="1031726103" sldId="2147483819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634184663" sldId="2147483809"/>
            <pc:sldLayoutMk cId="2120364449" sldId="2147483820"/>
          </pc:sldLayoutMkLst>
        </pc:sldLayoutChg>
      </pc:sldMasterChg>
      <pc:sldMasterChg chg="del delSldLayout">
        <pc:chgData name="QMKR (Martin Karlsson)" userId="7fbc46da-be70-47a2-9a0d-9c95923ecc09" providerId="ADAL" clId="{63FCA28B-ADE0-414A-AC61-F8F6DDFBC9B9}" dt="2025-10-08T15:31:24.300" v="1" actId="47"/>
        <pc:sldMasterMkLst>
          <pc:docMk/>
          <pc:sldMasterMk cId="2215316750" sldId="2147483821"/>
        </pc:sldMasterMkLst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215316750" sldId="2147483821"/>
            <pc:sldLayoutMk cId="1026288680" sldId="2147483822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215316750" sldId="2147483821"/>
            <pc:sldLayoutMk cId="1203685921" sldId="2147483823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215316750" sldId="2147483821"/>
            <pc:sldLayoutMk cId="1466652864" sldId="2147483824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215316750" sldId="2147483821"/>
            <pc:sldLayoutMk cId="3269711807" sldId="2147483825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215316750" sldId="2147483821"/>
            <pc:sldLayoutMk cId="3438700776" sldId="2147483826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215316750" sldId="2147483821"/>
            <pc:sldLayoutMk cId="3434044517" sldId="2147483827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215316750" sldId="2147483821"/>
            <pc:sldLayoutMk cId="3564505085" sldId="2147483828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215316750" sldId="2147483821"/>
            <pc:sldLayoutMk cId="499063754" sldId="2147483829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215316750" sldId="2147483821"/>
            <pc:sldLayoutMk cId="920054870" sldId="2147483830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215316750" sldId="2147483821"/>
            <pc:sldLayoutMk cId="3561248189" sldId="2147483831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215316750" sldId="2147483821"/>
            <pc:sldLayoutMk cId="3635165535" sldId="2147483832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215316750" sldId="2147483821"/>
            <pc:sldLayoutMk cId="3847888051" sldId="2147483833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215316750" sldId="2147483821"/>
            <pc:sldLayoutMk cId="2321843795" sldId="2147483834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215316750" sldId="2147483821"/>
            <pc:sldLayoutMk cId="2928955552" sldId="2147483835"/>
          </pc:sldLayoutMkLst>
        </pc:sldLayoutChg>
        <pc:sldLayoutChg chg="del">
          <pc:chgData name="QMKR (Martin Karlsson)" userId="7fbc46da-be70-47a2-9a0d-9c95923ecc09" providerId="ADAL" clId="{63FCA28B-ADE0-414A-AC61-F8F6DDFBC9B9}" dt="2025-10-08T15:31:24.300" v="1" actId="47"/>
          <pc:sldLayoutMkLst>
            <pc:docMk/>
            <pc:sldMasterMk cId="2215316750" sldId="2147483821"/>
            <pc:sldLayoutMk cId="1502021981" sldId="2147483836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08/10/2025</a:t>
            </a:fld>
            <a:endParaRPr lang="en-GB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 note</a:t>
            </a:r>
          </a:p>
          <a:p>
            <a:pPr lvl="6"/>
            <a:r>
              <a:rPr lang="en-US" dirty="0"/>
              <a:t>7 level</a:t>
            </a:r>
          </a:p>
          <a:p>
            <a:pPr lvl="7"/>
            <a:r>
              <a:rPr lang="en-US" dirty="0"/>
              <a:t>8 level</a:t>
            </a:r>
          </a:p>
          <a:p>
            <a:pPr lvl="8"/>
            <a:r>
              <a:rPr lang="en-US" dirty="0"/>
              <a:t>9 header	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08/10/2025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indent="-179388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0" indent="0" algn="l" defTabSz="914400" rtl="0" eaLnBrk="1" latinLnBrk="0" hangingPunct="1">
      <a:buFont typeface="Arial" panose="020B0604020202020204" pitchFamily="34" charset="0"/>
      <a:buChar char="​"/>
      <a:defRPr sz="1400" b="1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914400" rtl="0" eaLnBrk="1" latinLnBrk="0" hangingPunct="1"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indent="-2286000" algn="l" defTabSz="91440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0" indent="-90000" algn="l" defTabSz="914400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180000" indent="-90000" algn="l" defTabSz="914400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914400" rtl="0" eaLnBrk="1" latinLnBrk="0" hangingPunct="1">
      <a:buFont typeface="Arial" panose="020B0604020202020204" pitchFamily="34" charset="0"/>
      <a:buChar char="​"/>
      <a:defRPr sz="800" b="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00371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80DF523-34A7-40E1-AE82-7A0D359468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666200 w 12191999"/>
              <a:gd name="connsiteY0" fmla="*/ 756760 h 6858000"/>
              <a:gd name="connsiteX1" fmla="*/ 11678975 w 12191999"/>
              <a:gd name="connsiteY1" fmla="*/ 761119 h 6858000"/>
              <a:gd name="connsiteX2" fmla="*/ 11678975 w 12191999"/>
              <a:gd name="connsiteY2" fmla="*/ 808195 h 6858000"/>
              <a:gd name="connsiteX3" fmla="*/ 11678845 w 12191999"/>
              <a:gd name="connsiteY3" fmla="*/ 808195 h 6858000"/>
              <a:gd name="connsiteX4" fmla="*/ 11667095 w 12191999"/>
              <a:gd name="connsiteY4" fmla="*/ 813579 h 6858000"/>
              <a:gd name="connsiteX5" fmla="*/ 11644998 w 12191999"/>
              <a:gd name="connsiteY5" fmla="*/ 784080 h 6858000"/>
              <a:gd name="connsiteX6" fmla="*/ 11666200 w 12191999"/>
              <a:gd name="connsiteY6" fmla="*/ 756760 h 6858000"/>
              <a:gd name="connsiteX7" fmla="*/ 11553608 w 12191999"/>
              <a:gd name="connsiteY7" fmla="*/ 755951 h 6858000"/>
              <a:gd name="connsiteX8" fmla="*/ 11565369 w 12191999"/>
              <a:gd name="connsiteY8" fmla="*/ 760439 h 6858000"/>
              <a:gd name="connsiteX9" fmla="*/ 11571638 w 12191999"/>
              <a:gd name="connsiteY9" fmla="*/ 784954 h 6858000"/>
              <a:gd name="connsiteX10" fmla="*/ 11565369 w 12191999"/>
              <a:gd name="connsiteY10" fmla="*/ 809339 h 6858000"/>
              <a:gd name="connsiteX11" fmla="*/ 11553608 w 12191999"/>
              <a:gd name="connsiteY11" fmla="*/ 813698 h 6858000"/>
              <a:gd name="connsiteX12" fmla="*/ 11542106 w 12191999"/>
              <a:gd name="connsiteY12" fmla="*/ 809339 h 6858000"/>
              <a:gd name="connsiteX13" fmla="*/ 11535837 w 12191999"/>
              <a:gd name="connsiteY13" fmla="*/ 784954 h 6858000"/>
              <a:gd name="connsiteX14" fmla="*/ 11542106 w 12191999"/>
              <a:gd name="connsiteY14" fmla="*/ 760439 h 6858000"/>
              <a:gd name="connsiteX15" fmla="*/ 11553608 w 12191999"/>
              <a:gd name="connsiteY15" fmla="*/ 755951 h 6858000"/>
              <a:gd name="connsiteX16" fmla="*/ 11389948 w 12191999"/>
              <a:gd name="connsiteY16" fmla="*/ 755951 h 6858000"/>
              <a:gd name="connsiteX17" fmla="*/ 11401504 w 12191999"/>
              <a:gd name="connsiteY17" fmla="*/ 760439 h 6858000"/>
              <a:gd name="connsiteX18" fmla="*/ 11407795 w 12191999"/>
              <a:gd name="connsiteY18" fmla="*/ 784954 h 6858000"/>
              <a:gd name="connsiteX19" fmla="*/ 11401504 w 12191999"/>
              <a:gd name="connsiteY19" fmla="*/ 809339 h 6858000"/>
              <a:gd name="connsiteX20" fmla="*/ 11389948 w 12191999"/>
              <a:gd name="connsiteY20" fmla="*/ 813698 h 6858000"/>
              <a:gd name="connsiteX21" fmla="*/ 11378133 w 12191999"/>
              <a:gd name="connsiteY21" fmla="*/ 809339 h 6858000"/>
              <a:gd name="connsiteX22" fmla="*/ 11371843 w 12191999"/>
              <a:gd name="connsiteY22" fmla="*/ 784954 h 6858000"/>
              <a:gd name="connsiteX23" fmla="*/ 11378133 w 12191999"/>
              <a:gd name="connsiteY23" fmla="*/ 760439 h 6858000"/>
              <a:gd name="connsiteX24" fmla="*/ 11389948 w 12191999"/>
              <a:gd name="connsiteY24" fmla="*/ 755951 h 6858000"/>
              <a:gd name="connsiteX25" fmla="*/ 11267462 w 12191999"/>
              <a:gd name="connsiteY25" fmla="*/ 755951 h 6858000"/>
              <a:gd name="connsiteX26" fmla="*/ 11279148 w 12191999"/>
              <a:gd name="connsiteY26" fmla="*/ 760439 h 6858000"/>
              <a:gd name="connsiteX27" fmla="*/ 11285438 w 12191999"/>
              <a:gd name="connsiteY27" fmla="*/ 784954 h 6858000"/>
              <a:gd name="connsiteX28" fmla="*/ 11279148 w 12191999"/>
              <a:gd name="connsiteY28" fmla="*/ 809339 h 6858000"/>
              <a:gd name="connsiteX29" fmla="*/ 11267462 w 12191999"/>
              <a:gd name="connsiteY29" fmla="*/ 813698 h 6858000"/>
              <a:gd name="connsiteX30" fmla="*/ 11255907 w 12191999"/>
              <a:gd name="connsiteY30" fmla="*/ 809339 h 6858000"/>
              <a:gd name="connsiteX31" fmla="*/ 11249616 w 12191999"/>
              <a:gd name="connsiteY31" fmla="*/ 784954 h 6858000"/>
              <a:gd name="connsiteX32" fmla="*/ 11255907 w 12191999"/>
              <a:gd name="connsiteY32" fmla="*/ 760439 h 6858000"/>
              <a:gd name="connsiteX33" fmla="*/ 11267462 w 12191999"/>
              <a:gd name="connsiteY33" fmla="*/ 755951 h 6858000"/>
              <a:gd name="connsiteX34" fmla="*/ 11708668 w 12191999"/>
              <a:gd name="connsiteY34" fmla="*/ 750005 h 6858000"/>
              <a:gd name="connsiteX35" fmla="*/ 11706381 w 12191999"/>
              <a:gd name="connsiteY35" fmla="*/ 752433 h 6858000"/>
              <a:gd name="connsiteX36" fmla="*/ 11706381 w 12191999"/>
              <a:gd name="connsiteY36" fmla="*/ 817032 h 6858000"/>
              <a:gd name="connsiteX37" fmla="*/ 11708420 w 12191999"/>
              <a:gd name="connsiteY37" fmla="*/ 819459 h 6858000"/>
              <a:gd name="connsiteX38" fmla="*/ 11715671 w 12191999"/>
              <a:gd name="connsiteY38" fmla="*/ 819459 h 6858000"/>
              <a:gd name="connsiteX39" fmla="*/ 11718206 w 12191999"/>
              <a:gd name="connsiteY39" fmla="*/ 817032 h 6858000"/>
              <a:gd name="connsiteX40" fmla="*/ 11718206 w 12191999"/>
              <a:gd name="connsiteY40" fmla="*/ 752433 h 6858000"/>
              <a:gd name="connsiteX41" fmla="*/ 11715660 w 12191999"/>
              <a:gd name="connsiteY41" fmla="*/ 750005 h 6858000"/>
              <a:gd name="connsiteX42" fmla="*/ 11708668 w 12191999"/>
              <a:gd name="connsiteY42" fmla="*/ 750005 h 6858000"/>
              <a:gd name="connsiteX43" fmla="*/ 11826514 w 12191999"/>
              <a:gd name="connsiteY43" fmla="*/ 749671 h 6858000"/>
              <a:gd name="connsiteX44" fmla="*/ 11822404 w 12191999"/>
              <a:gd name="connsiteY44" fmla="*/ 751851 h 6858000"/>
              <a:gd name="connsiteX45" fmla="*/ 11798623 w 12191999"/>
              <a:gd name="connsiteY45" fmla="*/ 781695 h 6858000"/>
              <a:gd name="connsiteX46" fmla="*/ 11798105 w 12191999"/>
              <a:gd name="connsiteY46" fmla="*/ 782461 h 6858000"/>
              <a:gd name="connsiteX47" fmla="*/ 11798234 w 12191999"/>
              <a:gd name="connsiteY47" fmla="*/ 783227 h 6858000"/>
              <a:gd name="connsiteX48" fmla="*/ 11822145 w 12191999"/>
              <a:gd name="connsiteY48" fmla="*/ 817420 h 6858000"/>
              <a:gd name="connsiteX49" fmla="*/ 11826126 w 12191999"/>
              <a:gd name="connsiteY49" fmla="*/ 819470 h 6858000"/>
              <a:gd name="connsiteX50" fmla="*/ 11835254 w 12191999"/>
              <a:gd name="connsiteY50" fmla="*/ 819470 h 6858000"/>
              <a:gd name="connsiteX51" fmla="*/ 11837175 w 12191999"/>
              <a:gd name="connsiteY51" fmla="*/ 817798 h 6858000"/>
              <a:gd name="connsiteX52" fmla="*/ 11836279 w 12191999"/>
              <a:gd name="connsiteY52" fmla="*/ 816136 h 6858000"/>
              <a:gd name="connsiteX53" fmla="*/ 11810826 w 12191999"/>
              <a:gd name="connsiteY53" fmla="*/ 782450 h 6858000"/>
              <a:gd name="connsiteX54" fmla="*/ 11810567 w 12191999"/>
              <a:gd name="connsiteY54" fmla="*/ 782192 h 6858000"/>
              <a:gd name="connsiteX55" fmla="*/ 11834607 w 12191999"/>
              <a:gd name="connsiteY55" fmla="*/ 753890 h 6858000"/>
              <a:gd name="connsiteX56" fmla="*/ 11835254 w 12191999"/>
              <a:gd name="connsiteY56" fmla="*/ 751203 h 6858000"/>
              <a:gd name="connsiteX57" fmla="*/ 11832816 w 12191999"/>
              <a:gd name="connsiteY57" fmla="*/ 749671 h 6858000"/>
              <a:gd name="connsiteX58" fmla="*/ 11826514 w 12191999"/>
              <a:gd name="connsiteY58" fmla="*/ 749671 h 6858000"/>
              <a:gd name="connsiteX59" fmla="*/ 11301634 w 12191999"/>
              <a:gd name="connsiteY59" fmla="*/ 749671 h 6858000"/>
              <a:gd name="connsiteX60" fmla="*/ 11299832 w 12191999"/>
              <a:gd name="connsiteY60" fmla="*/ 751462 h 6858000"/>
              <a:gd name="connsiteX61" fmla="*/ 11300350 w 12191999"/>
              <a:gd name="connsiteY61" fmla="*/ 753383 h 6858000"/>
              <a:gd name="connsiteX62" fmla="*/ 11324605 w 12191999"/>
              <a:gd name="connsiteY62" fmla="*/ 817399 h 6858000"/>
              <a:gd name="connsiteX63" fmla="*/ 11326785 w 12191999"/>
              <a:gd name="connsiteY63" fmla="*/ 819449 h 6858000"/>
              <a:gd name="connsiteX64" fmla="*/ 11332050 w 12191999"/>
              <a:gd name="connsiteY64" fmla="*/ 819449 h 6858000"/>
              <a:gd name="connsiteX65" fmla="*/ 11334489 w 12191999"/>
              <a:gd name="connsiteY65" fmla="*/ 817399 h 6858000"/>
              <a:gd name="connsiteX66" fmla="*/ 11358108 w 12191999"/>
              <a:gd name="connsiteY66" fmla="*/ 753135 h 6858000"/>
              <a:gd name="connsiteX67" fmla="*/ 11358366 w 12191999"/>
              <a:gd name="connsiteY67" fmla="*/ 751085 h 6858000"/>
              <a:gd name="connsiteX68" fmla="*/ 11356694 w 12191999"/>
              <a:gd name="connsiteY68" fmla="*/ 749671 h 6858000"/>
              <a:gd name="connsiteX69" fmla="*/ 11350015 w 12191999"/>
              <a:gd name="connsiteY69" fmla="*/ 749671 h 6858000"/>
              <a:gd name="connsiteX70" fmla="*/ 11348343 w 12191999"/>
              <a:gd name="connsiteY70" fmla="*/ 751592 h 6858000"/>
              <a:gd name="connsiteX71" fmla="*/ 11330885 w 12191999"/>
              <a:gd name="connsiteY71" fmla="*/ 802908 h 6858000"/>
              <a:gd name="connsiteX72" fmla="*/ 11312920 w 12191999"/>
              <a:gd name="connsiteY72" fmla="*/ 751851 h 6858000"/>
              <a:gd name="connsiteX73" fmla="*/ 11309845 w 12191999"/>
              <a:gd name="connsiteY73" fmla="*/ 749671 h 6858000"/>
              <a:gd name="connsiteX74" fmla="*/ 11301634 w 12191999"/>
              <a:gd name="connsiteY74" fmla="*/ 749671 h 6858000"/>
              <a:gd name="connsiteX75" fmla="*/ 11754223 w 12191999"/>
              <a:gd name="connsiteY75" fmla="*/ 748506 h 6858000"/>
              <a:gd name="connsiteX76" fmla="*/ 11731241 w 12191999"/>
              <a:gd name="connsiteY76" fmla="*/ 767625 h 6858000"/>
              <a:gd name="connsiteX77" fmla="*/ 11749346 w 12191999"/>
              <a:gd name="connsiteY77" fmla="*/ 788417 h 6858000"/>
              <a:gd name="connsiteX78" fmla="*/ 11764236 w 12191999"/>
              <a:gd name="connsiteY78" fmla="*/ 801894 h 6858000"/>
              <a:gd name="connsiteX79" fmla="*/ 11750500 w 12191999"/>
              <a:gd name="connsiteY79" fmla="*/ 813698 h 6858000"/>
              <a:gd name="connsiteX80" fmla="*/ 11733679 w 12191999"/>
              <a:gd name="connsiteY80" fmla="*/ 806641 h 6858000"/>
              <a:gd name="connsiteX81" fmla="*/ 11728673 w 12191999"/>
              <a:gd name="connsiteY81" fmla="*/ 811130 h 6858000"/>
              <a:gd name="connsiteX82" fmla="*/ 11750241 w 12191999"/>
              <a:gd name="connsiteY82" fmla="*/ 821402 h 6858000"/>
              <a:gd name="connsiteX83" fmla="*/ 11774896 w 12191999"/>
              <a:gd name="connsiteY83" fmla="*/ 800610 h 6858000"/>
              <a:gd name="connsiteX84" fmla="*/ 11741901 w 12191999"/>
              <a:gd name="connsiteY84" fmla="*/ 766471 h 6858000"/>
              <a:gd name="connsiteX85" fmla="*/ 11753457 w 12191999"/>
              <a:gd name="connsiteY85" fmla="*/ 756199 h 6858000"/>
              <a:gd name="connsiteX86" fmla="*/ 11767322 w 12191999"/>
              <a:gd name="connsiteY86" fmla="*/ 761335 h 6858000"/>
              <a:gd name="connsiteX87" fmla="*/ 11772328 w 12191999"/>
              <a:gd name="connsiteY87" fmla="*/ 756587 h 6858000"/>
              <a:gd name="connsiteX88" fmla="*/ 11754223 w 12191999"/>
              <a:gd name="connsiteY88" fmla="*/ 748506 h 6858000"/>
              <a:gd name="connsiteX89" fmla="*/ 11614257 w 12191999"/>
              <a:gd name="connsiteY89" fmla="*/ 748117 h 6858000"/>
              <a:gd name="connsiteX90" fmla="*/ 11599001 w 12191999"/>
              <a:gd name="connsiteY90" fmla="*/ 750167 h 6858000"/>
              <a:gd name="connsiteX91" fmla="*/ 11592721 w 12191999"/>
              <a:gd name="connsiteY91" fmla="*/ 755659 h 6858000"/>
              <a:gd name="connsiteX92" fmla="*/ 11592721 w 12191999"/>
              <a:gd name="connsiteY92" fmla="*/ 816902 h 6858000"/>
              <a:gd name="connsiteX93" fmla="*/ 11595418 w 12191999"/>
              <a:gd name="connsiteY93" fmla="*/ 819071 h 6858000"/>
              <a:gd name="connsiteX94" fmla="*/ 11602216 w 12191999"/>
              <a:gd name="connsiteY94" fmla="*/ 819071 h 6858000"/>
              <a:gd name="connsiteX95" fmla="*/ 11604654 w 12191999"/>
              <a:gd name="connsiteY95" fmla="*/ 816902 h 6858000"/>
              <a:gd name="connsiteX96" fmla="*/ 11604654 w 12191999"/>
              <a:gd name="connsiteY96" fmla="*/ 760774 h 6858000"/>
              <a:gd name="connsiteX97" fmla="*/ 11611452 w 12191999"/>
              <a:gd name="connsiteY97" fmla="*/ 754764 h 6858000"/>
              <a:gd name="connsiteX98" fmla="*/ 11625943 w 12191999"/>
              <a:gd name="connsiteY98" fmla="*/ 761033 h 6858000"/>
              <a:gd name="connsiteX99" fmla="*/ 11631823 w 12191999"/>
              <a:gd name="connsiteY99" fmla="*/ 755152 h 6858000"/>
              <a:gd name="connsiteX100" fmla="*/ 11614257 w 12191999"/>
              <a:gd name="connsiteY100" fmla="*/ 748117 h 6858000"/>
              <a:gd name="connsiteX101" fmla="*/ 11553619 w 12191999"/>
              <a:gd name="connsiteY101" fmla="*/ 748117 h 6858000"/>
              <a:gd name="connsiteX102" fmla="*/ 11536236 w 12191999"/>
              <a:gd name="connsiteY102" fmla="*/ 753124 h 6858000"/>
              <a:gd name="connsiteX103" fmla="*/ 11523450 w 12191999"/>
              <a:gd name="connsiteY103" fmla="*/ 784954 h 6858000"/>
              <a:gd name="connsiteX104" fmla="*/ 11536236 w 12191999"/>
              <a:gd name="connsiteY104" fmla="*/ 816654 h 6858000"/>
              <a:gd name="connsiteX105" fmla="*/ 11553619 w 12191999"/>
              <a:gd name="connsiteY105" fmla="*/ 821531 h 6858000"/>
              <a:gd name="connsiteX106" fmla="*/ 11571001 w 12191999"/>
              <a:gd name="connsiteY106" fmla="*/ 816654 h 6858000"/>
              <a:gd name="connsiteX107" fmla="*/ 11583917 w 12191999"/>
              <a:gd name="connsiteY107" fmla="*/ 784954 h 6858000"/>
              <a:gd name="connsiteX108" fmla="*/ 11571001 w 12191999"/>
              <a:gd name="connsiteY108" fmla="*/ 753124 h 6858000"/>
              <a:gd name="connsiteX109" fmla="*/ 11553619 w 12191999"/>
              <a:gd name="connsiteY109" fmla="*/ 748117 h 6858000"/>
              <a:gd name="connsiteX110" fmla="*/ 11486031 w 12191999"/>
              <a:gd name="connsiteY110" fmla="*/ 748117 h 6858000"/>
              <a:gd name="connsiteX111" fmla="*/ 11465229 w 12191999"/>
              <a:gd name="connsiteY111" fmla="*/ 751452 h 6858000"/>
              <a:gd name="connsiteX112" fmla="*/ 11459230 w 12191999"/>
              <a:gd name="connsiteY112" fmla="*/ 756965 h 6858000"/>
              <a:gd name="connsiteX113" fmla="*/ 11459230 w 12191999"/>
              <a:gd name="connsiteY113" fmla="*/ 817010 h 6858000"/>
              <a:gd name="connsiteX114" fmla="*/ 11461787 w 12191999"/>
              <a:gd name="connsiteY114" fmla="*/ 819449 h 6858000"/>
              <a:gd name="connsiteX115" fmla="*/ 11468422 w 12191999"/>
              <a:gd name="connsiteY115" fmla="*/ 819449 h 6858000"/>
              <a:gd name="connsiteX116" fmla="*/ 11471228 w 12191999"/>
              <a:gd name="connsiteY116" fmla="*/ 816751 h 6858000"/>
              <a:gd name="connsiteX117" fmla="*/ 11471228 w 12191999"/>
              <a:gd name="connsiteY117" fmla="*/ 761454 h 6858000"/>
              <a:gd name="connsiteX118" fmla="*/ 11485654 w 12191999"/>
              <a:gd name="connsiteY118" fmla="*/ 755422 h 6858000"/>
              <a:gd name="connsiteX119" fmla="*/ 11501223 w 12191999"/>
              <a:gd name="connsiteY119" fmla="*/ 771844 h 6858000"/>
              <a:gd name="connsiteX120" fmla="*/ 11501223 w 12191999"/>
              <a:gd name="connsiteY120" fmla="*/ 816751 h 6858000"/>
              <a:gd name="connsiteX121" fmla="*/ 11504288 w 12191999"/>
              <a:gd name="connsiteY121" fmla="*/ 819449 h 6858000"/>
              <a:gd name="connsiteX122" fmla="*/ 11511690 w 12191999"/>
              <a:gd name="connsiteY122" fmla="*/ 819449 h 6858000"/>
              <a:gd name="connsiteX123" fmla="*/ 11512963 w 12191999"/>
              <a:gd name="connsiteY123" fmla="*/ 816762 h 6858000"/>
              <a:gd name="connsiteX124" fmla="*/ 11512963 w 12191999"/>
              <a:gd name="connsiteY124" fmla="*/ 770312 h 6858000"/>
              <a:gd name="connsiteX125" fmla="*/ 11486031 w 12191999"/>
              <a:gd name="connsiteY125" fmla="*/ 748117 h 6858000"/>
              <a:gd name="connsiteX126" fmla="*/ 11389700 w 12191999"/>
              <a:gd name="connsiteY126" fmla="*/ 748117 h 6858000"/>
              <a:gd name="connsiteX127" fmla="*/ 11372242 w 12191999"/>
              <a:gd name="connsiteY127" fmla="*/ 753124 h 6858000"/>
              <a:gd name="connsiteX128" fmla="*/ 11359402 w 12191999"/>
              <a:gd name="connsiteY128" fmla="*/ 784954 h 6858000"/>
              <a:gd name="connsiteX129" fmla="*/ 11372242 w 12191999"/>
              <a:gd name="connsiteY129" fmla="*/ 816654 h 6858000"/>
              <a:gd name="connsiteX130" fmla="*/ 11389700 w 12191999"/>
              <a:gd name="connsiteY130" fmla="*/ 821531 h 6858000"/>
              <a:gd name="connsiteX131" fmla="*/ 11407158 w 12191999"/>
              <a:gd name="connsiteY131" fmla="*/ 816654 h 6858000"/>
              <a:gd name="connsiteX132" fmla="*/ 11420127 w 12191999"/>
              <a:gd name="connsiteY132" fmla="*/ 784954 h 6858000"/>
              <a:gd name="connsiteX133" fmla="*/ 11407158 w 12191999"/>
              <a:gd name="connsiteY133" fmla="*/ 753124 h 6858000"/>
              <a:gd name="connsiteX134" fmla="*/ 11389700 w 12191999"/>
              <a:gd name="connsiteY134" fmla="*/ 748117 h 6858000"/>
              <a:gd name="connsiteX135" fmla="*/ 11267473 w 12191999"/>
              <a:gd name="connsiteY135" fmla="*/ 748117 h 6858000"/>
              <a:gd name="connsiteX136" fmla="*/ 11250015 w 12191999"/>
              <a:gd name="connsiteY136" fmla="*/ 753124 h 6858000"/>
              <a:gd name="connsiteX137" fmla="*/ 11237046 w 12191999"/>
              <a:gd name="connsiteY137" fmla="*/ 784954 h 6858000"/>
              <a:gd name="connsiteX138" fmla="*/ 11250015 w 12191999"/>
              <a:gd name="connsiteY138" fmla="*/ 816654 h 6858000"/>
              <a:gd name="connsiteX139" fmla="*/ 11267473 w 12191999"/>
              <a:gd name="connsiteY139" fmla="*/ 821531 h 6858000"/>
              <a:gd name="connsiteX140" fmla="*/ 11284931 w 12191999"/>
              <a:gd name="connsiteY140" fmla="*/ 816654 h 6858000"/>
              <a:gd name="connsiteX141" fmla="*/ 11297771 w 12191999"/>
              <a:gd name="connsiteY141" fmla="*/ 784954 h 6858000"/>
              <a:gd name="connsiteX142" fmla="*/ 11284931 w 12191999"/>
              <a:gd name="connsiteY142" fmla="*/ 753124 h 6858000"/>
              <a:gd name="connsiteX143" fmla="*/ 11267473 w 12191999"/>
              <a:gd name="connsiteY143" fmla="*/ 748117 h 6858000"/>
              <a:gd name="connsiteX144" fmla="*/ 11199756 w 12191999"/>
              <a:gd name="connsiteY144" fmla="*/ 748117 h 6858000"/>
              <a:gd name="connsiteX145" fmla="*/ 11178857 w 12191999"/>
              <a:gd name="connsiteY145" fmla="*/ 751452 h 6858000"/>
              <a:gd name="connsiteX146" fmla="*/ 11172825 w 12191999"/>
              <a:gd name="connsiteY146" fmla="*/ 756965 h 6858000"/>
              <a:gd name="connsiteX147" fmla="*/ 11172825 w 12191999"/>
              <a:gd name="connsiteY147" fmla="*/ 817010 h 6858000"/>
              <a:gd name="connsiteX148" fmla="*/ 11175263 w 12191999"/>
              <a:gd name="connsiteY148" fmla="*/ 819449 h 6858000"/>
              <a:gd name="connsiteX149" fmla="*/ 11181932 w 12191999"/>
              <a:gd name="connsiteY149" fmla="*/ 819449 h 6858000"/>
              <a:gd name="connsiteX150" fmla="*/ 11184748 w 12191999"/>
              <a:gd name="connsiteY150" fmla="*/ 816751 h 6858000"/>
              <a:gd name="connsiteX151" fmla="*/ 11184748 w 12191999"/>
              <a:gd name="connsiteY151" fmla="*/ 761454 h 6858000"/>
              <a:gd name="connsiteX152" fmla="*/ 11199238 w 12191999"/>
              <a:gd name="connsiteY152" fmla="*/ 755422 h 6858000"/>
              <a:gd name="connsiteX153" fmla="*/ 11214884 w 12191999"/>
              <a:gd name="connsiteY153" fmla="*/ 771844 h 6858000"/>
              <a:gd name="connsiteX154" fmla="*/ 11214884 w 12191999"/>
              <a:gd name="connsiteY154" fmla="*/ 816751 h 6858000"/>
              <a:gd name="connsiteX155" fmla="*/ 11217959 w 12191999"/>
              <a:gd name="connsiteY155" fmla="*/ 819449 h 6858000"/>
              <a:gd name="connsiteX156" fmla="*/ 11225393 w 12191999"/>
              <a:gd name="connsiteY156" fmla="*/ 819449 h 6858000"/>
              <a:gd name="connsiteX157" fmla="*/ 11226817 w 12191999"/>
              <a:gd name="connsiteY157" fmla="*/ 816762 h 6858000"/>
              <a:gd name="connsiteX158" fmla="*/ 11226817 w 12191999"/>
              <a:gd name="connsiteY158" fmla="*/ 770312 h 6858000"/>
              <a:gd name="connsiteX159" fmla="*/ 11199756 w 12191999"/>
              <a:gd name="connsiteY159" fmla="*/ 748117 h 6858000"/>
              <a:gd name="connsiteX160" fmla="*/ 11681273 w 12191999"/>
              <a:gd name="connsiteY160" fmla="*/ 724801 h 6858000"/>
              <a:gd name="connsiteX161" fmla="*/ 11678845 w 12191999"/>
              <a:gd name="connsiteY161" fmla="*/ 727876 h 6858000"/>
              <a:gd name="connsiteX162" fmla="*/ 11678845 w 12191999"/>
              <a:gd name="connsiteY162" fmla="*/ 752250 h 6858000"/>
              <a:gd name="connsiteX163" fmla="*/ 11664279 w 12191999"/>
              <a:gd name="connsiteY163" fmla="*/ 748527 h 6858000"/>
              <a:gd name="connsiteX164" fmla="*/ 11632848 w 12191999"/>
              <a:gd name="connsiteY164" fmla="*/ 784954 h 6858000"/>
              <a:gd name="connsiteX165" fmla="*/ 11666707 w 12191999"/>
              <a:gd name="connsiteY165" fmla="*/ 821510 h 6858000"/>
              <a:gd name="connsiteX166" fmla="*/ 11690477 w 12191999"/>
              <a:gd name="connsiteY166" fmla="*/ 812036 h 6858000"/>
              <a:gd name="connsiteX167" fmla="*/ 11690477 w 12191999"/>
              <a:gd name="connsiteY167" fmla="*/ 727498 h 6858000"/>
              <a:gd name="connsiteX168" fmla="*/ 11687919 w 12191999"/>
              <a:gd name="connsiteY168" fmla="*/ 724801 h 6858000"/>
              <a:gd name="connsiteX169" fmla="*/ 11681273 w 12191999"/>
              <a:gd name="connsiteY169" fmla="*/ 724801 h 6858000"/>
              <a:gd name="connsiteX170" fmla="*/ 11786797 w 12191999"/>
              <a:gd name="connsiteY170" fmla="*/ 724552 h 6858000"/>
              <a:gd name="connsiteX171" fmla="*/ 11784607 w 12191999"/>
              <a:gd name="connsiteY171" fmla="*/ 726732 h 6858000"/>
              <a:gd name="connsiteX172" fmla="*/ 11784607 w 12191999"/>
              <a:gd name="connsiteY172" fmla="*/ 817280 h 6858000"/>
              <a:gd name="connsiteX173" fmla="*/ 11786797 w 12191999"/>
              <a:gd name="connsiteY173" fmla="*/ 819330 h 6858000"/>
              <a:gd name="connsiteX174" fmla="*/ 11793864 w 12191999"/>
              <a:gd name="connsiteY174" fmla="*/ 819330 h 6858000"/>
              <a:gd name="connsiteX175" fmla="*/ 11796303 w 12191999"/>
              <a:gd name="connsiteY175" fmla="*/ 817409 h 6858000"/>
              <a:gd name="connsiteX176" fmla="*/ 11796303 w 12191999"/>
              <a:gd name="connsiteY176" fmla="*/ 726473 h 6858000"/>
              <a:gd name="connsiteX177" fmla="*/ 11793864 w 12191999"/>
              <a:gd name="connsiteY177" fmla="*/ 724552 h 6858000"/>
              <a:gd name="connsiteX178" fmla="*/ 11786797 w 12191999"/>
              <a:gd name="connsiteY178" fmla="*/ 724552 h 6858000"/>
              <a:gd name="connsiteX179" fmla="*/ 11712617 w 12191999"/>
              <a:gd name="connsiteY179" fmla="*/ 723776 h 6858000"/>
              <a:gd name="connsiteX180" fmla="*/ 11705237 w 12191999"/>
              <a:gd name="connsiteY180" fmla="*/ 730940 h 6858000"/>
              <a:gd name="connsiteX181" fmla="*/ 11712358 w 12191999"/>
              <a:gd name="connsiteY181" fmla="*/ 737975 h 6858000"/>
              <a:gd name="connsiteX182" fmla="*/ 11719609 w 12191999"/>
              <a:gd name="connsiteY182" fmla="*/ 730433 h 6858000"/>
              <a:gd name="connsiteX183" fmla="*/ 11712617 w 12191999"/>
              <a:gd name="connsiteY183" fmla="*/ 723776 h 6858000"/>
              <a:gd name="connsiteX184" fmla="*/ 11855021 w 12191999"/>
              <a:gd name="connsiteY184" fmla="*/ 713601 h 6858000"/>
              <a:gd name="connsiteX185" fmla="*/ 11855284 w 12191999"/>
              <a:gd name="connsiteY185" fmla="*/ 713794 h 6858000"/>
              <a:gd name="connsiteX186" fmla="*/ 11855021 w 12191999"/>
              <a:gd name="connsiteY186" fmla="*/ 713860 h 6858000"/>
              <a:gd name="connsiteX187" fmla="*/ 11855021 w 12191999"/>
              <a:gd name="connsiteY187" fmla="*/ 713601 h 6858000"/>
              <a:gd name="connsiteX188" fmla="*/ 11847209 w 12191999"/>
              <a:gd name="connsiteY188" fmla="*/ 704235 h 6858000"/>
              <a:gd name="connsiteX189" fmla="*/ 11851428 w 12191999"/>
              <a:gd name="connsiteY189" fmla="*/ 704235 h 6858000"/>
              <a:gd name="connsiteX190" fmla="*/ 11857190 w 12191999"/>
              <a:gd name="connsiteY190" fmla="*/ 707699 h 6858000"/>
              <a:gd name="connsiteX191" fmla="*/ 11851817 w 12191999"/>
              <a:gd name="connsiteY191" fmla="*/ 711162 h 6858000"/>
              <a:gd name="connsiteX192" fmla="*/ 11847209 w 12191999"/>
              <a:gd name="connsiteY192" fmla="*/ 711162 h 6858000"/>
              <a:gd name="connsiteX193" fmla="*/ 11843627 w 12191999"/>
              <a:gd name="connsiteY193" fmla="*/ 701020 h 6858000"/>
              <a:gd name="connsiteX194" fmla="*/ 11843627 w 12191999"/>
              <a:gd name="connsiteY194" fmla="*/ 724250 h 6858000"/>
              <a:gd name="connsiteX195" fmla="*/ 11847468 w 12191999"/>
              <a:gd name="connsiteY195" fmla="*/ 724250 h 6858000"/>
              <a:gd name="connsiteX196" fmla="*/ 11847468 w 12191999"/>
              <a:gd name="connsiteY196" fmla="*/ 714367 h 6858000"/>
              <a:gd name="connsiteX197" fmla="*/ 11849648 w 12191999"/>
              <a:gd name="connsiteY197" fmla="*/ 714367 h 6858000"/>
              <a:gd name="connsiteX198" fmla="*/ 11856553 w 12191999"/>
              <a:gd name="connsiteY198" fmla="*/ 720528 h 6858000"/>
              <a:gd name="connsiteX199" fmla="*/ 11858603 w 12191999"/>
              <a:gd name="connsiteY199" fmla="*/ 724121 h 6858000"/>
              <a:gd name="connsiteX200" fmla="*/ 11863081 w 12191999"/>
              <a:gd name="connsiteY200" fmla="*/ 724121 h 6858000"/>
              <a:gd name="connsiteX201" fmla="*/ 11860265 w 12191999"/>
              <a:gd name="connsiteY201" fmla="*/ 719503 h 6858000"/>
              <a:gd name="connsiteX202" fmla="*/ 11857064 w 12191999"/>
              <a:gd name="connsiteY202" fmla="*/ 715107 h 6858000"/>
              <a:gd name="connsiteX203" fmla="*/ 11855284 w 12191999"/>
              <a:gd name="connsiteY203" fmla="*/ 713794 h 6858000"/>
              <a:gd name="connsiteX204" fmla="*/ 11858039 w 12191999"/>
              <a:gd name="connsiteY204" fmla="*/ 713107 h 6858000"/>
              <a:gd name="connsiteX205" fmla="*/ 11861549 w 12191999"/>
              <a:gd name="connsiteY205" fmla="*/ 707310 h 6858000"/>
              <a:gd name="connsiteX206" fmla="*/ 11859370 w 12191999"/>
              <a:gd name="connsiteY206" fmla="*/ 702822 h 6858000"/>
              <a:gd name="connsiteX207" fmla="*/ 11851817 w 12191999"/>
              <a:gd name="connsiteY207" fmla="*/ 701020 h 6858000"/>
              <a:gd name="connsiteX208" fmla="*/ 11843627 w 12191999"/>
              <a:gd name="connsiteY208" fmla="*/ 701020 h 6858000"/>
              <a:gd name="connsiteX209" fmla="*/ 11852712 w 12191999"/>
              <a:gd name="connsiteY209" fmla="*/ 694611 h 6858000"/>
              <a:gd name="connsiteX210" fmla="*/ 11870623 w 12191999"/>
              <a:gd name="connsiteY210" fmla="*/ 712446 h 6858000"/>
              <a:gd name="connsiteX211" fmla="*/ 11852712 w 12191999"/>
              <a:gd name="connsiteY211" fmla="*/ 730541 h 6858000"/>
              <a:gd name="connsiteX212" fmla="*/ 11834931 w 12191999"/>
              <a:gd name="connsiteY212" fmla="*/ 712446 h 6858000"/>
              <a:gd name="connsiteX213" fmla="*/ 11852712 w 12191999"/>
              <a:gd name="connsiteY213" fmla="*/ 694611 h 6858000"/>
              <a:gd name="connsiteX214" fmla="*/ 11852712 w 12191999"/>
              <a:gd name="connsiteY214" fmla="*/ 690888 h 6858000"/>
              <a:gd name="connsiteX215" fmla="*/ 11831348 w 12191999"/>
              <a:gd name="connsiteY215" fmla="*/ 712446 h 6858000"/>
              <a:gd name="connsiteX216" fmla="*/ 11852712 w 12191999"/>
              <a:gd name="connsiteY216" fmla="*/ 734004 h 6858000"/>
              <a:gd name="connsiteX217" fmla="*/ 11874076 w 12191999"/>
              <a:gd name="connsiteY217" fmla="*/ 712446 h 6858000"/>
              <a:gd name="connsiteX218" fmla="*/ 11852712 w 12191999"/>
              <a:gd name="connsiteY218" fmla="*/ 690888 h 6858000"/>
              <a:gd name="connsiteX219" fmla="*/ 11639380 w 12191999"/>
              <a:gd name="connsiteY219" fmla="*/ 551044 h 6858000"/>
              <a:gd name="connsiteX220" fmla="*/ 11641189 w 12191999"/>
              <a:gd name="connsiteY220" fmla="*/ 551862 h 6858000"/>
              <a:gd name="connsiteX221" fmla="*/ 11644652 w 12191999"/>
              <a:gd name="connsiteY221" fmla="*/ 634274 h 6858000"/>
              <a:gd name="connsiteX222" fmla="*/ 11640682 w 12191999"/>
              <a:gd name="connsiteY222" fmla="*/ 633508 h 6858000"/>
              <a:gd name="connsiteX223" fmla="*/ 11634273 w 12191999"/>
              <a:gd name="connsiteY223" fmla="*/ 599671 h 6858000"/>
              <a:gd name="connsiteX224" fmla="*/ 11638243 w 12191999"/>
              <a:gd name="connsiteY224" fmla="*/ 552250 h 6858000"/>
              <a:gd name="connsiteX225" fmla="*/ 11639380 w 12191999"/>
              <a:gd name="connsiteY225" fmla="*/ 551044 h 6858000"/>
              <a:gd name="connsiteX226" fmla="*/ 11490639 w 12191999"/>
              <a:gd name="connsiteY226" fmla="*/ 502002 h 6858000"/>
              <a:gd name="connsiteX227" fmla="*/ 11550015 w 12191999"/>
              <a:gd name="connsiteY227" fmla="*/ 504052 h 6858000"/>
              <a:gd name="connsiteX228" fmla="*/ 11548343 w 12191999"/>
              <a:gd name="connsiteY228" fmla="*/ 536605 h 6858000"/>
              <a:gd name="connsiteX229" fmla="*/ 11499486 w 12191999"/>
              <a:gd name="connsiteY229" fmla="*/ 541094 h 6858000"/>
              <a:gd name="connsiteX230" fmla="*/ 11492948 w 12191999"/>
              <a:gd name="connsiteY230" fmla="*/ 533659 h 6858000"/>
              <a:gd name="connsiteX231" fmla="*/ 11490639 w 12191999"/>
              <a:gd name="connsiteY231" fmla="*/ 502002 h 6858000"/>
              <a:gd name="connsiteX232" fmla="*/ 11594253 w 12191999"/>
              <a:gd name="connsiteY232" fmla="*/ 498797 h 6858000"/>
              <a:gd name="connsiteX233" fmla="*/ 11598612 w 12191999"/>
              <a:gd name="connsiteY233" fmla="*/ 520075 h 6858000"/>
              <a:gd name="connsiteX234" fmla="*/ 11588351 w 12191999"/>
              <a:gd name="connsiteY234" fmla="*/ 527509 h 6858000"/>
              <a:gd name="connsiteX235" fmla="*/ 11580011 w 12191999"/>
              <a:gd name="connsiteY235" fmla="*/ 500718 h 6858000"/>
              <a:gd name="connsiteX236" fmla="*/ 11594253 w 12191999"/>
              <a:gd name="connsiteY236" fmla="*/ 498797 h 6858000"/>
              <a:gd name="connsiteX237" fmla="*/ 11441405 w 12191999"/>
              <a:gd name="connsiteY237" fmla="*/ 491374 h 6858000"/>
              <a:gd name="connsiteX238" fmla="*/ 11460384 w 12191999"/>
              <a:gd name="connsiteY238" fmla="*/ 496499 h 6858000"/>
              <a:gd name="connsiteX239" fmla="*/ 11442948 w 12191999"/>
              <a:gd name="connsiteY239" fmla="*/ 533670 h 6858000"/>
              <a:gd name="connsiteX240" fmla="*/ 11434607 w 12191999"/>
              <a:gd name="connsiteY240" fmla="*/ 527132 h 6858000"/>
              <a:gd name="connsiteX241" fmla="*/ 11441405 w 12191999"/>
              <a:gd name="connsiteY241" fmla="*/ 491374 h 6858000"/>
              <a:gd name="connsiteX242" fmla="*/ 11419441 w 12191999"/>
              <a:gd name="connsiteY242" fmla="*/ 484343 h 6858000"/>
              <a:gd name="connsiteX243" fmla="*/ 11431543 w 12191999"/>
              <a:gd name="connsiteY243" fmla="*/ 488299 h 6858000"/>
              <a:gd name="connsiteX244" fmla="*/ 11423202 w 12191999"/>
              <a:gd name="connsiteY244" fmla="*/ 532257 h 6858000"/>
              <a:gd name="connsiteX245" fmla="*/ 11444102 w 12191999"/>
              <a:gd name="connsiteY245" fmla="*/ 543154 h 6858000"/>
              <a:gd name="connsiteX246" fmla="*/ 11469620 w 12191999"/>
              <a:gd name="connsiteY246" fmla="*/ 498549 h 6858000"/>
              <a:gd name="connsiteX247" fmla="*/ 11481672 w 12191999"/>
              <a:gd name="connsiteY247" fmla="*/ 500729 h 6858000"/>
              <a:gd name="connsiteX248" fmla="*/ 11485395 w 12191999"/>
              <a:gd name="connsiteY248" fmla="*/ 542507 h 6858000"/>
              <a:gd name="connsiteX249" fmla="*/ 11498472 w 12191999"/>
              <a:gd name="connsiteY249" fmla="*/ 550707 h 6858000"/>
              <a:gd name="connsiteX250" fmla="*/ 11555917 w 12191999"/>
              <a:gd name="connsiteY250" fmla="*/ 543532 h 6858000"/>
              <a:gd name="connsiteX251" fmla="*/ 11559122 w 12191999"/>
              <a:gd name="connsiteY251" fmla="*/ 503286 h 6858000"/>
              <a:gd name="connsiteX252" fmla="*/ 11570149 w 12191999"/>
              <a:gd name="connsiteY252" fmla="*/ 502002 h 6858000"/>
              <a:gd name="connsiteX253" fmla="*/ 11579385 w 12191999"/>
              <a:gd name="connsiteY253" fmla="*/ 528405 h 6858000"/>
              <a:gd name="connsiteX254" fmla="*/ 11598752 w 12191999"/>
              <a:gd name="connsiteY254" fmla="*/ 531739 h 6858000"/>
              <a:gd name="connsiteX255" fmla="*/ 11602723 w 12191999"/>
              <a:gd name="connsiteY255" fmla="*/ 497773 h 6858000"/>
              <a:gd name="connsiteX256" fmla="*/ 11625673 w 12191999"/>
              <a:gd name="connsiteY256" fmla="*/ 533282 h 6858000"/>
              <a:gd name="connsiteX257" fmla="*/ 11612855 w 12191999"/>
              <a:gd name="connsiteY257" fmla="*/ 586216 h 6858000"/>
              <a:gd name="connsiteX258" fmla="*/ 11537326 w 12191999"/>
              <a:gd name="connsiteY258" fmla="*/ 569428 h 6858000"/>
              <a:gd name="connsiteX259" fmla="*/ 11459488 w 12191999"/>
              <a:gd name="connsiteY259" fmla="*/ 611465 h 6858000"/>
              <a:gd name="connsiteX260" fmla="*/ 11456154 w 12191999"/>
              <a:gd name="connsiteY260" fmla="*/ 612360 h 6858000"/>
              <a:gd name="connsiteX261" fmla="*/ 11418325 w 12191999"/>
              <a:gd name="connsiteY261" fmla="*/ 585191 h 6858000"/>
              <a:gd name="connsiteX262" fmla="*/ 11388707 w 12191999"/>
              <a:gd name="connsiteY262" fmla="*/ 549434 h 6858000"/>
              <a:gd name="connsiteX263" fmla="*/ 11414743 w 12191999"/>
              <a:gd name="connsiteY263" fmla="*/ 487403 h 6858000"/>
              <a:gd name="connsiteX264" fmla="*/ 11419441 w 12191999"/>
              <a:gd name="connsiteY264" fmla="*/ 484343 h 6858000"/>
              <a:gd name="connsiteX265" fmla="*/ 11358173 w 12191999"/>
              <a:gd name="connsiteY265" fmla="*/ 469801 h 6858000"/>
              <a:gd name="connsiteX266" fmla="*/ 11346260 w 12191999"/>
              <a:gd name="connsiteY266" fmla="*/ 478275 h 6858000"/>
              <a:gd name="connsiteX267" fmla="*/ 11361744 w 12191999"/>
              <a:gd name="connsiteY267" fmla="*/ 470744 h 6858000"/>
              <a:gd name="connsiteX268" fmla="*/ 11358173 w 12191999"/>
              <a:gd name="connsiteY268" fmla="*/ 469801 h 6858000"/>
              <a:gd name="connsiteX269" fmla="*/ 11354455 w 12191999"/>
              <a:gd name="connsiteY269" fmla="*/ 453696 h 6858000"/>
              <a:gd name="connsiteX270" fmla="*/ 11379471 w 12191999"/>
              <a:gd name="connsiteY270" fmla="*/ 464453 h 6858000"/>
              <a:gd name="connsiteX271" fmla="*/ 11401267 w 12191999"/>
              <a:gd name="connsiteY271" fmla="*/ 487522 h 6858000"/>
              <a:gd name="connsiteX272" fmla="*/ 11376515 w 12191999"/>
              <a:gd name="connsiteY272" fmla="*/ 541611 h 6858000"/>
              <a:gd name="connsiteX273" fmla="*/ 11357665 w 12191999"/>
              <a:gd name="connsiteY273" fmla="*/ 511745 h 6858000"/>
              <a:gd name="connsiteX274" fmla="*/ 11330734 w 12191999"/>
              <a:gd name="connsiteY274" fmla="*/ 504052 h 6858000"/>
              <a:gd name="connsiteX275" fmla="*/ 11328166 w 12191999"/>
              <a:gd name="connsiteY275" fmla="*/ 491881 h 6858000"/>
              <a:gd name="connsiteX276" fmla="*/ 11335600 w 12191999"/>
              <a:gd name="connsiteY276" fmla="*/ 481879 h 6858000"/>
              <a:gd name="connsiteX277" fmla="*/ 11338297 w 12191999"/>
              <a:gd name="connsiteY277" fmla="*/ 470604 h 6858000"/>
              <a:gd name="connsiteX278" fmla="*/ 11349972 w 12191999"/>
              <a:gd name="connsiteY278" fmla="*/ 456124 h 6858000"/>
              <a:gd name="connsiteX279" fmla="*/ 11354455 w 12191999"/>
              <a:gd name="connsiteY279" fmla="*/ 453696 h 6858000"/>
              <a:gd name="connsiteX280" fmla="*/ 11324025 w 12191999"/>
              <a:gd name="connsiteY280" fmla="*/ 392924 h 6858000"/>
              <a:gd name="connsiteX281" fmla="*/ 11322134 w 12191999"/>
              <a:gd name="connsiteY281" fmla="*/ 400006 h 6858000"/>
              <a:gd name="connsiteX282" fmla="*/ 11335988 w 12191999"/>
              <a:gd name="connsiteY282" fmla="*/ 441536 h 6858000"/>
              <a:gd name="connsiteX283" fmla="*/ 11339193 w 12191999"/>
              <a:gd name="connsiteY283" fmla="*/ 451786 h 6858000"/>
              <a:gd name="connsiteX284" fmla="*/ 11328425 w 12191999"/>
              <a:gd name="connsiteY284" fmla="*/ 467162 h 6858000"/>
              <a:gd name="connsiteX285" fmla="*/ 11327270 w 12191999"/>
              <a:gd name="connsiteY285" fmla="*/ 474855 h 6858000"/>
              <a:gd name="connsiteX286" fmla="*/ 11315477 w 12191999"/>
              <a:gd name="connsiteY286" fmla="*/ 490748 h 6858000"/>
              <a:gd name="connsiteX287" fmla="*/ 11317268 w 12191999"/>
              <a:gd name="connsiteY287" fmla="*/ 503696 h 6858000"/>
              <a:gd name="connsiteX288" fmla="*/ 11327788 w 12191999"/>
              <a:gd name="connsiteY288" fmla="*/ 514594 h 6858000"/>
              <a:gd name="connsiteX289" fmla="*/ 11341890 w 12191999"/>
              <a:gd name="connsiteY289" fmla="*/ 516137 h 6858000"/>
              <a:gd name="connsiteX290" fmla="*/ 11358561 w 12191999"/>
              <a:gd name="connsiteY290" fmla="*/ 529214 h 6858000"/>
              <a:gd name="connsiteX291" fmla="*/ 11388308 w 12191999"/>
              <a:gd name="connsiteY291" fmla="*/ 580476 h 6858000"/>
              <a:gd name="connsiteX292" fmla="*/ 11394717 w 12191999"/>
              <a:gd name="connsiteY292" fmla="*/ 606490 h 6858000"/>
              <a:gd name="connsiteX293" fmla="*/ 11360611 w 12191999"/>
              <a:gd name="connsiteY293" fmla="*/ 709026 h 6858000"/>
              <a:gd name="connsiteX294" fmla="*/ 11362402 w 12191999"/>
              <a:gd name="connsiteY294" fmla="*/ 719406 h 6858000"/>
              <a:gd name="connsiteX295" fmla="*/ 11388567 w 12191999"/>
              <a:gd name="connsiteY295" fmla="*/ 719406 h 6858000"/>
              <a:gd name="connsiteX296" fmla="*/ 11394210 w 12191999"/>
              <a:gd name="connsiteY296" fmla="*/ 711972 h 6858000"/>
              <a:gd name="connsiteX297" fmla="*/ 11429094 w 12191999"/>
              <a:gd name="connsiteY297" fmla="*/ 608411 h 6858000"/>
              <a:gd name="connsiteX298" fmla="*/ 11464484 w 12191999"/>
              <a:gd name="connsiteY298" fmla="*/ 709921 h 6858000"/>
              <a:gd name="connsiteX299" fmla="*/ 11468207 w 12191999"/>
              <a:gd name="connsiteY299" fmla="*/ 719665 h 6858000"/>
              <a:gd name="connsiteX300" fmla="*/ 11490650 w 12191999"/>
              <a:gd name="connsiteY300" fmla="*/ 719665 h 6858000"/>
              <a:gd name="connsiteX301" fmla="*/ 11497954 w 12191999"/>
              <a:gd name="connsiteY301" fmla="*/ 713126 h 6858000"/>
              <a:gd name="connsiteX302" fmla="*/ 11473979 w 12191999"/>
              <a:gd name="connsiteY302" fmla="*/ 619309 h 6858000"/>
              <a:gd name="connsiteX303" fmla="*/ 11535276 w 12191999"/>
              <a:gd name="connsiteY303" fmla="*/ 595345 h 6858000"/>
              <a:gd name="connsiteX304" fmla="*/ 11569383 w 12191999"/>
              <a:gd name="connsiteY304" fmla="*/ 622136 h 6858000"/>
              <a:gd name="connsiteX305" fmla="*/ 11512315 w 12191999"/>
              <a:gd name="connsiteY305" fmla="*/ 709932 h 6858000"/>
              <a:gd name="connsiteX306" fmla="*/ 11514624 w 12191999"/>
              <a:gd name="connsiteY306" fmla="*/ 719417 h 6858000"/>
              <a:gd name="connsiteX307" fmla="*/ 11538351 w 12191999"/>
              <a:gd name="connsiteY307" fmla="*/ 719417 h 6858000"/>
              <a:gd name="connsiteX308" fmla="*/ 11547069 w 12191999"/>
              <a:gd name="connsiteY308" fmla="*/ 713903 h 6858000"/>
              <a:gd name="connsiteX309" fmla="*/ 11598623 w 12191999"/>
              <a:gd name="connsiteY309" fmla="*/ 630983 h 6858000"/>
              <a:gd name="connsiteX310" fmla="*/ 11608496 w 12191999"/>
              <a:gd name="connsiteY310" fmla="*/ 600869 h 6858000"/>
              <a:gd name="connsiteX311" fmla="*/ 11599130 w 12191999"/>
              <a:gd name="connsiteY311" fmla="*/ 710062 h 6858000"/>
              <a:gd name="connsiteX312" fmla="*/ 11601439 w 12191999"/>
              <a:gd name="connsiteY312" fmla="*/ 719287 h 6858000"/>
              <a:gd name="connsiteX313" fmla="*/ 11622857 w 12191999"/>
              <a:gd name="connsiteY313" fmla="*/ 719287 h 6858000"/>
              <a:gd name="connsiteX314" fmla="*/ 11629525 w 12191999"/>
              <a:gd name="connsiteY314" fmla="*/ 711087 h 6858000"/>
              <a:gd name="connsiteX315" fmla="*/ 11634650 w 12191999"/>
              <a:gd name="connsiteY315" fmla="*/ 693014 h 6858000"/>
              <a:gd name="connsiteX316" fmla="*/ 11654018 w 12191999"/>
              <a:gd name="connsiteY316" fmla="*/ 688018 h 6858000"/>
              <a:gd name="connsiteX317" fmla="*/ 11659024 w 12191999"/>
              <a:gd name="connsiteY317" fmla="*/ 680584 h 6858000"/>
              <a:gd name="connsiteX318" fmla="*/ 11654654 w 12191999"/>
              <a:gd name="connsiteY318" fmla="*/ 520852 h 6858000"/>
              <a:gd name="connsiteX319" fmla="*/ 11603360 w 12191999"/>
              <a:gd name="connsiteY319" fmla="*/ 487533 h 6858000"/>
              <a:gd name="connsiteX320" fmla="*/ 11526547 w 12191999"/>
              <a:gd name="connsiteY320" fmla="*/ 493424 h 6858000"/>
              <a:gd name="connsiteX321" fmla="*/ 11402033 w 12191999"/>
              <a:gd name="connsiteY321" fmla="*/ 464842 h 6858000"/>
              <a:gd name="connsiteX322" fmla="*/ 11401644 w 12191999"/>
              <a:gd name="connsiteY322" fmla="*/ 459199 h 6858000"/>
              <a:gd name="connsiteX323" fmla="*/ 11433960 w 12191999"/>
              <a:gd name="connsiteY323" fmla="*/ 433314 h 6858000"/>
              <a:gd name="connsiteX324" fmla="*/ 11431392 w 12191999"/>
              <a:gd name="connsiteY324" fmla="*/ 426398 h 6858000"/>
              <a:gd name="connsiteX325" fmla="*/ 11365995 w 12191999"/>
              <a:gd name="connsiteY325" fmla="*/ 438191 h 6858000"/>
              <a:gd name="connsiteX326" fmla="*/ 11327648 w 12191999"/>
              <a:gd name="connsiteY326" fmla="*/ 397567 h 6858000"/>
              <a:gd name="connsiteX327" fmla="*/ 11324025 w 12191999"/>
              <a:gd name="connsiteY327" fmla="*/ 392924 h 6858000"/>
              <a:gd name="connsiteX328" fmla="*/ 11391491 w 12191999"/>
              <a:gd name="connsiteY328" fmla="*/ 334037 h 6858000"/>
              <a:gd name="connsiteX329" fmla="*/ 11426364 w 12191999"/>
              <a:gd name="connsiteY329" fmla="*/ 368996 h 6858000"/>
              <a:gd name="connsiteX330" fmla="*/ 11391491 w 12191999"/>
              <a:gd name="connsiteY330" fmla="*/ 403955 h 6858000"/>
              <a:gd name="connsiteX331" fmla="*/ 11356360 w 12191999"/>
              <a:gd name="connsiteY331" fmla="*/ 368996 h 6858000"/>
              <a:gd name="connsiteX332" fmla="*/ 11391491 w 12191999"/>
              <a:gd name="connsiteY332" fmla="*/ 334037 h 6858000"/>
              <a:gd name="connsiteX333" fmla="*/ 11389959 w 12191999"/>
              <a:gd name="connsiteY333" fmla="*/ 321618 h 6858000"/>
              <a:gd name="connsiteX334" fmla="*/ 11337262 w 12191999"/>
              <a:gd name="connsiteY334" fmla="*/ 374510 h 6858000"/>
              <a:gd name="connsiteX335" fmla="*/ 11389959 w 12191999"/>
              <a:gd name="connsiteY335" fmla="*/ 427401 h 6858000"/>
              <a:gd name="connsiteX336" fmla="*/ 11442656 w 12191999"/>
              <a:gd name="connsiteY336" fmla="*/ 374510 h 6858000"/>
              <a:gd name="connsiteX337" fmla="*/ 11389959 w 12191999"/>
              <a:gd name="connsiteY337" fmla="*/ 321618 h 6858000"/>
              <a:gd name="connsiteX338" fmla="*/ 0 w 12191999"/>
              <a:gd name="connsiteY338" fmla="*/ 0 h 6858000"/>
              <a:gd name="connsiteX339" fmla="*/ 12191999 w 12191999"/>
              <a:gd name="connsiteY339" fmla="*/ 0 h 6858000"/>
              <a:gd name="connsiteX340" fmla="*/ 12191999 w 12191999"/>
              <a:gd name="connsiteY340" fmla="*/ 6858000 h 6858000"/>
              <a:gd name="connsiteX341" fmla="*/ 0 w 12191999"/>
              <a:gd name="connsiteY34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1999" h="6858000">
                <a:moveTo>
                  <a:pt x="11666200" y="756760"/>
                </a:moveTo>
                <a:cubicBezTo>
                  <a:pt x="11673094" y="756760"/>
                  <a:pt x="11676288" y="758940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5"/>
                </a:moveTo>
                <a:cubicBezTo>
                  <a:pt x="11706381" y="750005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5"/>
                  <a:pt x="11715660" y="750005"/>
                </a:cubicBezTo>
                <a:cubicBezTo>
                  <a:pt x="11708668" y="750005"/>
                  <a:pt x="11708668" y="750005"/>
                  <a:pt x="11708668" y="750005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1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59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7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5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2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2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29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3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8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3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6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6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3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7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1"/>
                  <a:pt x="11410848" y="403955"/>
                  <a:pt x="11391491" y="403955"/>
                </a:cubicBezTo>
                <a:cubicBezTo>
                  <a:pt x="11372134" y="403955"/>
                  <a:pt x="11356360" y="388331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648000"/>
            <a:ext cx="8652000" cy="310485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60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7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189875-0661-4E2F-8DC6-9F8850F63BE8}"/>
              </a:ext>
            </a:extLst>
          </p:cNvPr>
          <p:cNvSpPr txBox="1"/>
          <p:nvPr userDrawn="1"/>
        </p:nvSpPr>
        <p:spPr>
          <a:xfrm>
            <a:off x="23812" y="-33912"/>
            <a:ext cx="36000" cy="17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US" sz="100" dirty="0">
                <a:solidFill>
                  <a:srgbClr val="666666"/>
                </a:solidFill>
                <a:latin typeface="Apis For Office Light" panose="020B0404010101010104" pitchFamily="34" charset="0"/>
                <a:ea typeface="Apis For Office Light" panose="020B0404010101010104" pitchFamily="34" charset="0"/>
                <a:cs typeface="Apis For Office Light" panose="020B0404010101010104" pitchFamily="34" charset="0"/>
              </a:rPr>
              <a:t>Light</a:t>
            </a:r>
          </a:p>
        </p:txBody>
      </p:sp>
      <p:sp>
        <p:nvSpPr>
          <p:cNvPr id="16" name="Slide Number Placeholder 8">
            <a:extLst>
              <a:ext uri="{FF2B5EF4-FFF2-40B4-BE49-F238E27FC236}">
                <a16:creationId xmlns:a16="http://schemas.microsoft.com/office/drawing/2014/main" id="{A65E5DCA-65B0-489C-8954-F5C4AA22AC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ynamic logo white" descr="{&quot;templafy&quot;:{&quot;id&quot;:&quot;dfaf3a11-8330-4f32-8e98-b0fe97385246&quot;}}" title="Form.PLogoChoice.PLogoInsertionWhite">
            <a:extLst>
              <a:ext uri="{FF2B5EF4-FFF2-40B4-BE49-F238E27FC236}">
                <a16:creationId xmlns:a16="http://schemas.microsoft.com/office/drawing/2014/main" id="{C5FCC1DF-363B-E72E-C9AA-B53C438C43DC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Divider">
    <p:bg bwMode="ltGray"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E495F4B-43C9-4BD0-8BB8-4942406D92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8766DD-9A06-4EF8-BC56-88FAB73040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97164" y="647700"/>
            <a:ext cx="8902835" cy="5562300"/>
          </a:xfrm>
        </p:spPr>
        <p:txBody>
          <a:bodyPr anchor="ctr">
            <a:noAutofit/>
          </a:bodyPr>
          <a:lstStyle>
            <a:lvl1pPr marL="0" indent="0">
              <a:buNone/>
              <a:defRPr sz="41300">
                <a:solidFill>
                  <a:srgbClr val="EBE8E5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23601" y="648000"/>
            <a:ext cx="7675974" cy="5562000"/>
          </a:xfrm>
        </p:spPr>
        <p:txBody>
          <a:bodyPr anchor="ctr"/>
          <a:lstStyle>
            <a:lvl1pPr algn="l"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to add tit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FC03F98-43D5-4866-9EED-B1724A421DE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7" name="dynamic year 100" descr="{&quot;templafy&quot;:{&quot;id&quot;:&quot;030395cc-edef-42bb-b9ec-5fcec00ac4d3&quot;}}" title="Form.PLogoChoice.PLogoInsertion">
            <a:extLst>
              <a:ext uri="{FF2B5EF4-FFF2-40B4-BE49-F238E27FC236}">
                <a16:creationId xmlns:a16="http://schemas.microsoft.com/office/drawing/2014/main" id="{F5E8B261-EC29-2FF5-230F-CD67CBFA5254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" name="dynamic logo" descr="{&quot;templafy&quot;:{&quot;id&quot;:&quot;707d5590-19ce-44e5-bc71-1be377f50a45&quot;}}" title="Form.PLogoChoice.PLogoInsertion">
            <a:extLst>
              <a:ext uri="{FF2B5EF4-FFF2-40B4-BE49-F238E27FC236}">
                <a16:creationId xmlns:a16="http://schemas.microsoft.com/office/drawing/2014/main" id="{0AE4A24C-70EB-BC8C-D2BF-CE49F3D32F08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38787337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92000" y="647700"/>
            <a:ext cx="8976150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0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9FC834-4845-430D-833F-E27D62F7E10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B39247E-D185-41FD-BF62-F6D03E65C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70F0230-6038-4355-80ED-FB8CD83128C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89205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3429000"/>
            <a:ext cx="11543999" cy="3104999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0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DD836B-4E8F-40F5-B8F7-589382C6DFF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03AE82F-9C53-4FB7-8399-260EEAC4898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BC4390-ECEC-4EC2-BC84-6A63CD446A0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1720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1327234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/>
            </a:lvl1pPr>
          </a:lstStyle>
          <a:p>
            <a:pPr lvl="0"/>
            <a:r>
              <a:rPr lang="en-US" dirty="0"/>
              <a:t>Click to add trumpet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1C300B8-ABB6-BCEA-C620-D3B5CFF7F2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605664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245504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6408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380000" y="1944000"/>
            <a:ext cx="4164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6BE7D1E-8977-4FBA-BE12-1091DAF34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7910165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3713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6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80000" y="1944000"/>
            <a:ext cx="4164000" cy="42659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D24B339-4BEF-40F4-99BA-001E3E2611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532712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4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1944000"/>
            <a:ext cx="4164001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50C9B3A-1DC8-4D31-931B-2B9DFA8D2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5998940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6408300" cy="1292866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1920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80000" y="647700"/>
            <a:ext cx="4488000" cy="5886299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12701857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6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0"/>
            <a:ext cx="6732001" cy="58863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38846121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80C894-9D8D-4E84-92B9-6EA4ECCC00D1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485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822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7" y="6053913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FDF5EDE-8F7F-4DF3-B844-7C0C4E6AC641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6C80C8D-1C72-4DEF-843D-58E9166721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id="{2BE0DF0F-9C1F-48B6-81C9-DE493CAF27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id="{4EC3851D-A362-49B0-86B2-00F14E8191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ynamic logo white" descr="{&quot;templafy&quot;:{&quot;id&quot;:&quot;90fd5118-93fd-4a18-96fb-0ac0f4384496&quot;}}" title="Form.PLogoChoice.PLogoInsertionWhite">
            <a:extLst>
              <a:ext uri="{FF2B5EF4-FFF2-40B4-BE49-F238E27FC236}">
                <a16:creationId xmlns:a16="http://schemas.microsoft.com/office/drawing/2014/main" id="{6710F327-85FB-CF0C-0969-475E9A09AE20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25638664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6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0"/>
            <a:ext cx="4164001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24664117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7700"/>
            <a:ext cx="5286220" cy="1651119"/>
          </a:xfrm>
        </p:spPr>
        <p:txBody>
          <a:bodyPr anchor="t"/>
          <a:lstStyle>
            <a:lvl1pPr>
              <a:lnSpc>
                <a:spcPct val="100000"/>
              </a:lnSpc>
              <a:defRPr sz="3600" b="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A06B890-E694-4CC8-A7C4-0101B94C346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2488123"/>
            <a:ext cx="5286375" cy="371363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232361E-9641-4D5F-B5F2-E5299AA8C5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7782" y="647700"/>
            <a:ext cx="5610217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296DAD-0E66-436A-9C98-8412698CB71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578600" y="968516"/>
            <a:ext cx="4965401" cy="52414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0508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A41594FF-878C-4539-A3DF-E2C07894A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7914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5150ED-B90C-4AB1-BCB0-E73E86A8D87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6E0E6C7-4501-41F5-82DA-93E27DDCEB4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834695D-31D7-40E5-BF1E-A049DDB0738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C244FE-0B79-4E3B-B276-2F6B1D5612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8039139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F91D68D-2FA9-4CAD-8EF0-C0BF3460A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5626451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45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6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36D757B-F40B-4569-BAF1-AA3404B9E9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815960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296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48000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7914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EC381D6-39E2-4766-8084-72599657FA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861255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E8B13B9-500C-41BD-AE32-64AABDD45343}"/>
              </a:ext>
            </a:extLst>
          </p:cNvPr>
          <p:cNvSpPr/>
          <p:nvPr userDrawn="1"/>
        </p:nvSpPr>
        <p:spPr>
          <a:xfrm>
            <a:off x="4818274" y="2518125"/>
            <a:ext cx="2555453" cy="1821750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95E57C6-792B-4176-9081-325BCB6A73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sz="10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11BEDE0-B328-47ED-BFE3-B922ED50E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sz="10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5EE4FB-E10C-46B3-A75F-639829594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sz="100" dirty="0"/>
          </a:p>
        </p:txBody>
      </p:sp>
    </p:spTree>
    <p:extLst>
      <p:ext uri="{BB962C8B-B14F-4D97-AF65-F5344CB8AC3E}">
        <p14:creationId xmlns:p14="http://schemas.microsoft.com/office/powerpoint/2010/main" val="4826571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E8B13B9-500C-41BD-AE32-64AABDD45343}"/>
              </a:ext>
            </a:extLst>
          </p:cNvPr>
          <p:cNvSpPr/>
          <p:nvPr userDrawn="1"/>
        </p:nvSpPr>
        <p:spPr>
          <a:xfrm>
            <a:off x="4818274" y="2518125"/>
            <a:ext cx="2555453" cy="1821750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id="{5E2CB17F-7F37-4D9E-B75C-9007C8729C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sz="100" dirty="0"/>
          </a:p>
        </p:txBody>
      </p:sp>
      <p:sp>
        <p:nvSpPr>
          <p:cNvPr id="14" name="Footer Placeholder 7">
            <a:extLst>
              <a:ext uri="{FF2B5EF4-FFF2-40B4-BE49-F238E27FC236}">
                <a16:creationId xmlns:a16="http://schemas.microsoft.com/office/drawing/2014/main" id="{74FE5657-0D9D-4DB3-826E-FF66EEDC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sz="100" dirty="0"/>
          </a:p>
        </p:txBody>
      </p:sp>
      <p:sp>
        <p:nvSpPr>
          <p:cNvPr id="15" name="Slide Number Placeholder 8">
            <a:extLst>
              <a:ext uri="{FF2B5EF4-FFF2-40B4-BE49-F238E27FC236}">
                <a16:creationId xmlns:a16="http://schemas.microsoft.com/office/drawing/2014/main" id="{0B3E7C79-1410-4D8B-926D-CF3179FE0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sz="100" dirty="0"/>
          </a:p>
        </p:txBody>
      </p:sp>
    </p:spTree>
    <p:extLst>
      <p:ext uri="{BB962C8B-B14F-4D97-AF65-F5344CB8AC3E}">
        <p14:creationId xmlns:p14="http://schemas.microsoft.com/office/powerpoint/2010/main" val="33572362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500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7999" y="6055882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71420AF-1268-4AE1-84DA-164DB71C2C14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C86D47D-AFD8-4DC6-BD55-10180E93A9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Footer Placeholder 7">
            <a:extLst>
              <a:ext uri="{FF2B5EF4-FFF2-40B4-BE49-F238E27FC236}">
                <a16:creationId xmlns:a16="http://schemas.microsoft.com/office/drawing/2014/main" id="{FADB92D4-4128-4A3B-A654-38C0F1360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8E1CB220-B3D7-46B6-BFDD-6B22270FC0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dynamic logo" descr="{&quot;templafy&quot;:{&quot;id&quot;:&quot;6d5cd887-7f8d-4ace-b0c5-176aa105823f&quot;}}" title="Form.PLogoChoice.PLogoInsertion">
            <a:extLst>
              <a:ext uri="{FF2B5EF4-FFF2-40B4-BE49-F238E27FC236}">
                <a16:creationId xmlns:a16="http://schemas.microsoft.com/office/drawing/2014/main" id="{2CF51ADE-B2CC-B4D3-5513-A6A66C77DEB7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  <p:sp>
        <p:nvSpPr>
          <p:cNvPr id="4" name="dynamic year 100" descr="{&quot;templafy&quot;:{&quot;id&quot;:&quot;6b85331b-3c1e-4183-90f5-1b0c40617904&quot;}}" title="Form.PLogoChoice.PLogoInsertion">
            <a:extLst>
              <a:ext uri="{FF2B5EF4-FFF2-40B4-BE49-F238E27FC236}">
                <a16:creationId xmlns:a16="http://schemas.microsoft.com/office/drawing/2014/main" id="{1E4501D4-80DD-6712-25F4-A6D515CAB8F6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8459273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 TO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SP Agenda Section" hidden="1"/>
          <p:cNvGrpSpPr/>
          <p:nvPr userDrawn="1"/>
        </p:nvGrpSpPr>
        <p:grpSpPr>
          <a:xfrm>
            <a:off x="649875" y="2120400"/>
            <a:ext cx="8651288" cy="538934"/>
            <a:chOff x="648000" y="2120400"/>
            <a:chExt cx="8651287" cy="538934"/>
          </a:xfrm>
        </p:grpSpPr>
        <p:sp>
          <p:nvSpPr>
            <p:cNvPr id="20" name="Section Title"/>
            <p:cNvSpPr txBox="1">
              <a:spLocks/>
            </p:cNvSpPr>
            <p:nvPr userDrawn="1"/>
          </p:nvSpPr>
          <p:spPr>
            <a:xfrm>
              <a:off x="1116140" y="2120400"/>
              <a:ext cx="4994426" cy="2628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2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Section Number"/>
            <p:cNvSpPr txBox="1">
              <a:spLocks/>
            </p:cNvSpPr>
            <p:nvPr userDrawn="1"/>
          </p:nvSpPr>
          <p:spPr>
            <a:xfrm>
              <a:off x="648000" y="2120400"/>
              <a:ext cx="379556" cy="2628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1200" b="1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Slide Number"/>
            <p:cNvSpPr txBox="1">
              <a:spLocks/>
            </p:cNvSpPr>
            <p:nvPr userDrawn="1"/>
          </p:nvSpPr>
          <p:spPr>
            <a:xfrm>
              <a:off x="8662293" y="2120400"/>
              <a:ext cx="636994" cy="2628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US" sz="12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imeslot"/>
            <p:cNvSpPr txBox="1">
              <a:spLocks/>
            </p:cNvSpPr>
            <p:nvPr userDrawn="1"/>
          </p:nvSpPr>
          <p:spPr>
            <a:xfrm>
              <a:off x="1116140" y="2396534"/>
              <a:ext cx="1257061" cy="2628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Responsible"/>
            <p:cNvSpPr txBox="1">
              <a:spLocks/>
            </p:cNvSpPr>
            <p:nvPr userDrawn="1"/>
          </p:nvSpPr>
          <p:spPr>
            <a:xfrm>
              <a:off x="3421771" y="2396534"/>
              <a:ext cx="1388067" cy="2628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Duration"/>
            <p:cNvSpPr txBox="1">
              <a:spLocks/>
            </p:cNvSpPr>
            <p:nvPr userDrawn="1"/>
          </p:nvSpPr>
          <p:spPr>
            <a:xfrm>
              <a:off x="6204648" y="2396534"/>
              <a:ext cx="684723" cy="2628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649875" y="2886557"/>
            <a:ext cx="8651288" cy="538934"/>
            <a:chOff x="1797664" y="1308363"/>
            <a:chExt cx="8651288" cy="538934"/>
          </a:xfrm>
          <a:noFill/>
        </p:grpSpPr>
        <p:sp>
          <p:nvSpPr>
            <p:cNvPr id="32" name="Section Title"/>
            <p:cNvSpPr txBox="1">
              <a:spLocks/>
            </p:cNvSpPr>
            <p:nvPr userDrawn="1"/>
          </p:nvSpPr>
          <p:spPr>
            <a:xfrm>
              <a:off x="2265804" y="1308363"/>
              <a:ext cx="4994427" cy="262800"/>
            </a:xfrm>
            <a:prstGeom prst="rect">
              <a:avLst/>
            </a:prstGeom>
            <a:grpFill/>
            <a:effectLst/>
          </p:spPr>
          <p:txBody>
            <a:bodyPr vert="horz" wrap="square" lIns="0" tIns="0" rIns="0" bIns="0" rtlCol="0" anchor="ctr">
              <a:normAutofit/>
            </a:bodyPr>
            <a:lstStyle/>
            <a:p>
              <a:pPr algn="l" defTabSz="9334267">
                <a:tabLst>
                  <a:tab pos="9512062" algn="l"/>
                </a:tabLst>
              </a:pPr>
              <a:r>
                <a:rPr lang="en-US" sz="12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TEXT&gt;</a:t>
              </a:r>
            </a:p>
          </p:txBody>
        </p:sp>
        <p:sp>
          <p:nvSpPr>
            <p:cNvPr id="33" name="Section Number"/>
            <p:cNvSpPr txBox="1">
              <a:spLocks/>
            </p:cNvSpPr>
            <p:nvPr userDrawn="1"/>
          </p:nvSpPr>
          <p:spPr>
            <a:xfrm>
              <a:off x="1797664" y="1308363"/>
              <a:ext cx="379556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200" b="1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N&gt;</a:t>
              </a:r>
            </a:p>
          </p:txBody>
        </p:sp>
        <p:sp>
          <p:nvSpPr>
            <p:cNvPr id="34" name="Slide Number"/>
            <p:cNvSpPr txBox="1">
              <a:spLocks/>
            </p:cNvSpPr>
            <p:nvPr userDrawn="1"/>
          </p:nvSpPr>
          <p:spPr>
            <a:xfrm>
              <a:off x="9811958" y="1308363"/>
              <a:ext cx="636994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r"/>
              <a:r>
                <a:rPr lang="en-US" sz="12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P&gt;</a:t>
              </a:r>
            </a:p>
          </p:txBody>
        </p:sp>
        <p:sp>
          <p:nvSpPr>
            <p:cNvPr id="35" name="Timeslot"/>
            <p:cNvSpPr txBox="1">
              <a:spLocks/>
            </p:cNvSpPr>
            <p:nvPr userDrawn="1"/>
          </p:nvSpPr>
          <p:spPr>
            <a:xfrm>
              <a:off x="2265804" y="1584497"/>
              <a:ext cx="1257061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TIMESLOT&gt;</a:t>
              </a:r>
            </a:p>
          </p:txBody>
        </p:sp>
        <p:sp>
          <p:nvSpPr>
            <p:cNvPr id="36" name="Responsible"/>
            <p:cNvSpPr txBox="1">
              <a:spLocks/>
            </p:cNvSpPr>
            <p:nvPr userDrawn="1"/>
          </p:nvSpPr>
          <p:spPr>
            <a:xfrm>
              <a:off x="4571435" y="1584497"/>
              <a:ext cx="1388067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RESPONSIBLE&gt;</a:t>
              </a:r>
            </a:p>
          </p:txBody>
        </p:sp>
        <p:sp>
          <p:nvSpPr>
            <p:cNvPr id="37" name="Duration"/>
            <p:cNvSpPr txBox="1">
              <a:spLocks/>
            </p:cNvSpPr>
            <p:nvPr userDrawn="1"/>
          </p:nvSpPr>
          <p:spPr>
            <a:xfrm>
              <a:off x="7354312" y="1584497"/>
              <a:ext cx="684723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649875" y="3652714"/>
            <a:ext cx="8651288" cy="538934"/>
            <a:chOff x="1797663" y="2081912"/>
            <a:chExt cx="8651287" cy="538934"/>
          </a:xfrm>
        </p:grpSpPr>
        <p:sp>
          <p:nvSpPr>
            <p:cNvPr id="39" name="Section Title"/>
            <p:cNvSpPr txBox="1">
              <a:spLocks/>
            </p:cNvSpPr>
            <p:nvPr userDrawn="1"/>
          </p:nvSpPr>
          <p:spPr>
            <a:xfrm>
              <a:off x="2265803" y="2081912"/>
              <a:ext cx="4994426" cy="262800"/>
            </a:xfrm>
            <a:prstGeom prst="rect">
              <a:avLst/>
            </a:prstGeom>
            <a:noFill/>
            <a:effectLst/>
          </p:spPr>
          <p:txBody>
            <a:bodyPr vert="horz" wrap="square" lIns="0" tIns="0" rIns="0" bIns="0" rtlCol="0" anchor="ctr">
              <a:normAutofit/>
            </a:bodyPr>
            <a:lstStyle/>
            <a:p>
              <a:pPr algn="l" defTabSz="9334267">
                <a:tabLst>
                  <a:tab pos="9512062" algn="l"/>
                </a:tabLst>
              </a:pPr>
              <a:r>
                <a:rPr lang="en-US" sz="12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TEXT&gt;</a:t>
              </a:r>
            </a:p>
          </p:txBody>
        </p:sp>
        <p:sp>
          <p:nvSpPr>
            <p:cNvPr id="40" name="Section Number"/>
            <p:cNvSpPr txBox="1">
              <a:spLocks/>
            </p:cNvSpPr>
            <p:nvPr userDrawn="1"/>
          </p:nvSpPr>
          <p:spPr>
            <a:xfrm>
              <a:off x="1797663" y="2081912"/>
              <a:ext cx="379556" cy="262800"/>
            </a:xfrm>
            <a:prstGeom prst="rect">
              <a:avLst/>
            </a:prstGeom>
            <a:no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200" b="1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N&gt;</a:t>
              </a:r>
            </a:p>
          </p:txBody>
        </p:sp>
        <p:sp>
          <p:nvSpPr>
            <p:cNvPr id="41" name="Slide Number"/>
            <p:cNvSpPr txBox="1">
              <a:spLocks/>
            </p:cNvSpPr>
            <p:nvPr userDrawn="1"/>
          </p:nvSpPr>
          <p:spPr>
            <a:xfrm>
              <a:off x="9811956" y="2081912"/>
              <a:ext cx="636994" cy="262800"/>
            </a:xfrm>
            <a:prstGeom prst="rect">
              <a:avLst/>
            </a:prstGeom>
            <a:no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r"/>
              <a:r>
                <a:rPr lang="en-US" sz="12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P&gt;</a:t>
              </a:r>
            </a:p>
          </p:txBody>
        </p:sp>
        <p:sp>
          <p:nvSpPr>
            <p:cNvPr id="42" name="Timeslot"/>
            <p:cNvSpPr txBox="1">
              <a:spLocks/>
            </p:cNvSpPr>
            <p:nvPr userDrawn="1"/>
          </p:nvSpPr>
          <p:spPr>
            <a:xfrm>
              <a:off x="2265803" y="2358046"/>
              <a:ext cx="1257061" cy="262800"/>
            </a:xfrm>
            <a:prstGeom prst="rect">
              <a:avLst/>
            </a:prstGeom>
            <a:no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TIMESLOT&gt;</a:t>
              </a:r>
            </a:p>
          </p:txBody>
        </p:sp>
        <p:sp>
          <p:nvSpPr>
            <p:cNvPr id="43" name="Responsible"/>
            <p:cNvSpPr txBox="1">
              <a:spLocks/>
            </p:cNvSpPr>
            <p:nvPr userDrawn="1"/>
          </p:nvSpPr>
          <p:spPr>
            <a:xfrm>
              <a:off x="4571434" y="2358046"/>
              <a:ext cx="1388067" cy="262800"/>
            </a:xfrm>
            <a:prstGeom prst="rect">
              <a:avLst/>
            </a:prstGeom>
            <a:no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RESPONSIBLE&gt;</a:t>
              </a:r>
            </a:p>
          </p:txBody>
        </p:sp>
        <p:sp>
          <p:nvSpPr>
            <p:cNvPr id="44" name="Duration"/>
            <p:cNvSpPr txBox="1">
              <a:spLocks/>
            </p:cNvSpPr>
            <p:nvPr userDrawn="1"/>
          </p:nvSpPr>
          <p:spPr>
            <a:xfrm>
              <a:off x="7354310" y="2358046"/>
              <a:ext cx="684723" cy="262800"/>
            </a:xfrm>
            <a:prstGeom prst="rect">
              <a:avLst/>
            </a:prstGeom>
            <a:no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649575" y="4474801"/>
            <a:ext cx="8651588" cy="538934"/>
            <a:chOff x="1797664" y="1967494"/>
            <a:chExt cx="8651588" cy="538934"/>
          </a:xfrm>
          <a:noFill/>
        </p:grpSpPr>
        <p:sp>
          <p:nvSpPr>
            <p:cNvPr id="46" name="Section Title"/>
            <p:cNvSpPr txBox="1">
              <a:spLocks/>
            </p:cNvSpPr>
            <p:nvPr userDrawn="1"/>
          </p:nvSpPr>
          <p:spPr>
            <a:xfrm>
              <a:off x="2265804" y="1967494"/>
              <a:ext cx="4994427" cy="262800"/>
            </a:xfrm>
            <a:prstGeom prst="rect">
              <a:avLst/>
            </a:prstGeom>
            <a:grpFill/>
            <a:effectLst/>
          </p:spPr>
          <p:txBody>
            <a:bodyPr vert="horz" wrap="square" lIns="0" tIns="0" rIns="0" bIns="0" rtlCol="0" anchor="ctr">
              <a:normAutofit/>
            </a:bodyPr>
            <a:lstStyle/>
            <a:p>
              <a:pPr algn="l" defTabSz="9334267">
                <a:tabLst>
                  <a:tab pos="9512062" algn="l"/>
                </a:tabLst>
              </a:pPr>
              <a:r>
                <a:rPr lang="en-US" sz="12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TEXT&gt;</a:t>
              </a:r>
            </a:p>
          </p:txBody>
        </p:sp>
        <p:sp>
          <p:nvSpPr>
            <p:cNvPr id="47" name="Section Number"/>
            <p:cNvSpPr txBox="1">
              <a:spLocks/>
            </p:cNvSpPr>
            <p:nvPr userDrawn="1"/>
          </p:nvSpPr>
          <p:spPr>
            <a:xfrm>
              <a:off x="1797664" y="1967494"/>
              <a:ext cx="379556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200" b="1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N&gt;</a:t>
              </a:r>
            </a:p>
          </p:txBody>
        </p:sp>
        <p:sp>
          <p:nvSpPr>
            <p:cNvPr id="48" name="Slide Number"/>
            <p:cNvSpPr txBox="1">
              <a:spLocks/>
            </p:cNvSpPr>
            <p:nvPr userDrawn="1"/>
          </p:nvSpPr>
          <p:spPr>
            <a:xfrm>
              <a:off x="9812258" y="1967494"/>
              <a:ext cx="636994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r"/>
              <a:r>
                <a:rPr lang="en-US" sz="12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P&gt;</a:t>
              </a:r>
            </a:p>
          </p:txBody>
        </p:sp>
        <p:sp>
          <p:nvSpPr>
            <p:cNvPr id="49" name="Timeslot"/>
            <p:cNvSpPr txBox="1">
              <a:spLocks/>
            </p:cNvSpPr>
            <p:nvPr userDrawn="1"/>
          </p:nvSpPr>
          <p:spPr>
            <a:xfrm>
              <a:off x="2265804" y="2243628"/>
              <a:ext cx="1257061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TIMESLOT&gt;</a:t>
              </a:r>
            </a:p>
          </p:txBody>
        </p:sp>
        <p:sp>
          <p:nvSpPr>
            <p:cNvPr id="50" name="Responsible"/>
            <p:cNvSpPr txBox="1">
              <a:spLocks/>
            </p:cNvSpPr>
            <p:nvPr userDrawn="1"/>
          </p:nvSpPr>
          <p:spPr>
            <a:xfrm>
              <a:off x="4571735" y="2243628"/>
              <a:ext cx="1388067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RESPONSIBLE&gt;</a:t>
              </a:r>
            </a:p>
          </p:txBody>
        </p:sp>
        <p:sp>
          <p:nvSpPr>
            <p:cNvPr id="51" name="Duration"/>
            <p:cNvSpPr txBox="1">
              <a:spLocks/>
            </p:cNvSpPr>
            <p:nvPr userDrawn="1"/>
          </p:nvSpPr>
          <p:spPr>
            <a:xfrm>
              <a:off x="7354611" y="2243628"/>
              <a:ext cx="684723" cy="262800"/>
            </a:xfrm>
            <a:prstGeom prst="rect">
              <a:avLst/>
            </a:prstGeom>
            <a:grpFill/>
            <a:effectLst/>
          </p:spPr>
          <p:txBody>
            <a:bodyPr vert="horz" wrap="none" lIns="0" tIns="0" rIns="0" bIns="0" rtlCol="0" anchor="ctr">
              <a:noAutofit/>
            </a:bodyPr>
            <a:lstStyle/>
            <a:p>
              <a:pPr algn="l"/>
              <a:r>
                <a:rPr lang="en-US" sz="1000" b="0" i="0" u="none" strike="noStrike" dirty="0">
                  <a:solidFill>
                    <a:schemeClr val="tx1"/>
                  </a:solidFill>
                  <a:latin typeface="Apis For Office" panose="020B0604020202020204" charset="0"/>
                </a:rPr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CC69C51-152E-42EB-9E33-2953A61CF398}"/>
              </a:ext>
            </a:extLst>
          </p:cNvPr>
          <p:cNvSpPr>
            <a:spLocks noGrp="1"/>
          </p:cNvSpPr>
          <p:nvPr>
            <p:ph type="title" idx="10" hasCustomPrompt="1"/>
          </p:nvPr>
        </p:nvSpPr>
        <p:spPr>
          <a:xfrm>
            <a:off x="648000" y="648000"/>
            <a:ext cx="6406850" cy="694663"/>
          </a:xfrm>
        </p:spPr>
        <p:txBody>
          <a:bodyPr anchor="t"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EAC6E4-F34E-C8E7-3EE6-EBAF68C864A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1B7CAE-3673-9F2C-CEC3-DD3AC3C50C5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AB8224-9D13-0477-381E-9E06AE6FAE1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9D40B05-6144-8FA9-C28C-8E4E3FE5B0F6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rgbClr val="FFFFFF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0" name="dynamic logo white" descr="{&quot;templafy&quot;:{&quot;id&quot;:&quot;d2c74e02-72cd-4c31-bda6-0d51377b95f0&quot;}}" title="Form.PLogoChoice.PLogoInsertionWhite">
            <a:extLst>
              <a:ext uri="{FF2B5EF4-FFF2-40B4-BE49-F238E27FC236}">
                <a16:creationId xmlns:a16="http://schemas.microsoft.com/office/drawing/2014/main" id="{1A6A96C2-0B73-E670-4F39-F1FDDA60D261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2461082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3BC2A95-D6F3-C873-0C4F-968220225C6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749301" y="3127375"/>
            <a:ext cx="10423524" cy="603250"/>
            <a:chOff x="1595205" y="1927239"/>
            <a:chExt cx="6143204" cy="603250"/>
          </a:xfrm>
        </p:grpSpPr>
        <p:sp>
          <p:nvSpPr>
            <p:cNvPr id="72" name="Section Title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42645" y="1927239"/>
              <a:ext cx="5495764" cy="60325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4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73" name="Section Number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95205" y="1927239"/>
              <a:ext cx="647442" cy="60325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4400" b="1" dirty="0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74" name="Slide Number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440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imeslot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440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Responsible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440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Duration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440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749301" y="3127375"/>
            <a:ext cx="10423523" cy="603250"/>
            <a:chOff x="1595205" y="1927239"/>
            <a:chExt cx="6143204" cy="603250"/>
          </a:xfrm>
        </p:grpSpPr>
        <p:sp>
          <p:nvSpPr>
            <p:cNvPr id="79" name="Section Title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42645" y="1927239"/>
              <a:ext cx="5495764" cy="60325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44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80" name="Section Number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95205" y="1927239"/>
              <a:ext cx="647442" cy="60325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4400" b="1" dirty="0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81" name="Slide Number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4400" b="1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imeslot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4400" b="1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Responsible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4400" b="1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Duration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4400" b="1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0DBF30-E737-9B72-7BCE-6AAF7DB68D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C61A8-A907-429E-B74A-EFE0C71850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AB9F0A-4D38-6AC3-6ABD-0F8B46103A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C84AD194-DB6D-51A5-BDB1-27DCA11A0D92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" name="dynamic logo white" descr="{&quot;templafy&quot;:{&quot;id&quot;:&quot;3597c04d-a1d4-4db2-9518-94d467de3247&quot;}}" title="Form.PLogoChoice.PLogoInsertionWhite">
            <a:extLst>
              <a:ext uri="{FF2B5EF4-FFF2-40B4-BE49-F238E27FC236}">
                <a16:creationId xmlns:a16="http://schemas.microsoft.com/office/drawing/2014/main" id="{4C8B24A5-6FA4-69B5-BF18-CC32917C434E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3429510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B97ADE-DB50-43D7-B6D7-6AA6A44173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2254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13A6A0-AAC5-4762-99A3-8E67DE5BC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6A718C-8117-4521-935E-A616BB58A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Box 3">
            <a:extLst>
              <a:ext uri="{FF2B5EF4-FFF2-40B4-BE49-F238E27FC236}">
                <a16:creationId xmlns:a16="http://schemas.microsoft.com/office/drawing/2014/main" id="{B82AC4B4-CADE-20C1-7FDB-8AAC5E43A4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428452"/>
            <a:ext cx="2786833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PICTURES</a:t>
            </a:r>
            <a:br>
              <a:rPr lang="en-US" sz="900" dirty="0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US" altLang="da-DK" sz="900" b="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US" altLang="da-DK" sz="900" b="0" i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US" altLang="da-DK" sz="90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altLang="da-DK" sz="900" b="0" baseline="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endParaRPr lang="en-US" altLang="da-DK" sz="900" b="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</p:txBody>
      </p:sp>
      <p:sp>
        <p:nvSpPr>
          <p:cNvPr id="6" name="Text Box 2">
            <a:extLst>
              <a:ext uri="{FF2B5EF4-FFF2-40B4-BE49-F238E27FC236}">
                <a16:creationId xmlns:a16="http://schemas.microsoft.com/office/drawing/2014/main" id="{BA76E542-DB9C-D84A-C66E-A0AE87C4FFE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700" y="1434082"/>
            <a:ext cx="2280360" cy="500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TEXT STYLES</a:t>
            </a:r>
            <a:endParaRPr lang="en-US" altLang="da-DK" sz="1600" b="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US" sz="900" b="1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US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US" sz="90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US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Decrease</a:t>
            </a:r>
            <a:br>
              <a:rPr lang="en-US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baseline="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sz="1600" dirty="0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b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b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001965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US" sz="900" b="1" dirty="0">
                <a:solidFill>
                  <a:srgbClr val="001965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</a:t>
            </a:r>
            <a:br>
              <a:rPr lang="en-US" sz="900" b="1" dirty="0">
                <a:solidFill>
                  <a:srgbClr val="001965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US" sz="900" dirty="0">
                <a:solidFill>
                  <a:srgbClr val="001965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b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US" altLang="da-DK" sz="90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US" altLang="da-DK" sz="90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US" altLang="da-DK" sz="90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US" altLang="da-DK" sz="90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8F7E2418-BDC7-BE7A-66D4-F96CC03BAB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67579" y="3143286"/>
            <a:ext cx="257143" cy="285714"/>
          </a:xfrm>
          <a:prstGeom prst="rect">
            <a:avLst/>
          </a:prstGeom>
        </p:spPr>
      </p:pic>
      <p:pic>
        <p:nvPicPr>
          <p:cNvPr id="8" name="Picture 29">
            <a:extLst>
              <a:ext uri="{FF2B5EF4-FFF2-40B4-BE49-F238E27FC236}">
                <a16:creationId xmlns:a16="http://schemas.microsoft.com/office/drawing/2014/main" id="{12752743-2485-3862-B5EC-789D88B1C9E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68120" y="2420103"/>
            <a:ext cx="457143" cy="257143"/>
          </a:xfrm>
          <a:prstGeom prst="rect">
            <a:avLst/>
          </a:prstGeom>
        </p:spPr>
      </p:pic>
      <p:pic>
        <p:nvPicPr>
          <p:cNvPr id="9" name="Picture 33">
            <a:extLst>
              <a:ext uri="{FF2B5EF4-FFF2-40B4-BE49-F238E27FC236}">
                <a16:creationId xmlns:a16="http://schemas.microsoft.com/office/drawing/2014/main" id="{0E9AB818-AB04-348D-8000-48224FE3FB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901" t="45142" r="62601" b="9046"/>
          <a:stretch/>
        </p:blipFill>
        <p:spPr>
          <a:xfrm>
            <a:off x="7254412" y="2939262"/>
            <a:ext cx="341204" cy="321707"/>
          </a:xfrm>
          <a:prstGeom prst="rect">
            <a:avLst/>
          </a:prstGeom>
        </p:spPr>
      </p:pic>
      <p:pic>
        <p:nvPicPr>
          <p:cNvPr id="10" name="Picture 16">
            <a:extLst>
              <a:ext uri="{FF2B5EF4-FFF2-40B4-BE49-F238E27FC236}">
                <a16:creationId xmlns:a16="http://schemas.microsoft.com/office/drawing/2014/main" id="{92365D11-E7F8-7109-B971-EED59FB60BC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74001" y="4133838"/>
            <a:ext cx="328881" cy="505501"/>
          </a:xfrm>
          <a:prstGeom prst="rect">
            <a:avLst/>
          </a:prstGeom>
        </p:spPr>
      </p:pic>
      <p:pic>
        <p:nvPicPr>
          <p:cNvPr id="11" name="Picture 20">
            <a:extLst>
              <a:ext uri="{FF2B5EF4-FFF2-40B4-BE49-F238E27FC236}">
                <a16:creationId xmlns:a16="http://schemas.microsoft.com/office/drawing/2014/main" id="{FB15E05D-9E3B-A123-4428-C4E65ACB7E2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74001" y="5461991"/>
            <a:ext cx="538465" cy="172841"/>
          </a:xfrm>
          <a:prstGeom prst="rect">
            <a:avLst/>
          </a:prstGeom>
        </p:spPr>
      </p:pic>
      <p:pic>
        <p:nvPicPr>
          <p:cNvPr id="12" name="Picture 19">
            <a:extLst>
              <a:ext uri="{FF2B5EF4-FFF2-40B4-BE49-F238E27FC236}">
                <a16:creationId xmlns:a16="http://schemas.microsoft.com/office/drawing/2014/main" id="{BD89D20E-1919-3687-114A-C7E9F348C9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310433" y="3749002"/>
            <a:ext cx="313788" cy="543900"/>
          </a:xfrm>
          <a:prstGeom prst="rect">
            <a:avLst/>
          </a:prstGeom>
        </p:spPr>
      </p:pic>
      <p:sp>
        <p:nvSpPr>
          <p:cNvPr id="13" name="Text Box 4">
            <a:extLst>
              <a:ext uri="{FF2B5EF4-FFF2-40B4-BE49-F238E27FC236}">
                <a16:creationId xmlns:a16="http://schemas.microsoft.com/office/drawing/2014/main" id="{DAFE49F7-8BE5-96E8-15D6-5BCD09854B5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428452"/>
            <a:ext cx="2358243" cy="4154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a-DK" sz="900" b="0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Insert predefined slides and elements. Click the blue </a:t>
            </a:r>
            <a:r>
              <a:rPr kumimoji="0" lang="en-US" altLang="da-DK" sz="900" b="1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Templafy </a:t>
            </a:r>
            <a:r>
              <a:rPr kumimoji="0" lang="en-US" altLang="da-DK" sz="900" b="0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button and choose </a:t>
            </a:r>
            <a:r>
              <a:rPr kumimoji="0" lang="en-US" altLang="da-DK" sz="900" b="1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Slides</a:t>
            </a:r>
            <a:r>
              <a:rPr kumimoji="0" lang="en-US" altLang="da-DK" sz="900" b="0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 and </a:t>
            </a:r>
            <a:r>
              <a:rPr kumimoji="0" lang="en-US" altLang="da-DK" sz="900" b="1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Slide elements </a:t>
            </a:r>
            <a:r>
              <a:rPr kumimoji="0" lang="en-US" altLang="da-DK" sz="900" b="0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in the Templafy pane on the right side of the screen.</a:t>
            </a:r>
            <a:br>
              <a:rPr kumimoji="0" lang="en-US" altLang="da-DK" sz="1600" b="0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</a:br>
            <a:endParaRPr lang="en-US" sz="1600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HEADER </a:t>
            </a:r>
            <a:r>
              <a:rPr lang="en-US" sz="1600" dirty="0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GRIDLINES</a:t>
            </a:r>
            <a:endParaRPr lang="en-US" sz="1600" b="1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US" altLang="da-DK" sz="900" b="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0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4" name="Fast overskrift">
            <a:extLst>
              <a:ext uri="{FF2B5EF4-FFF2-40B4-BE49-F238E27FC236}">
                <a16:creationId xmlns:a16="http://schemas.microsoft.com/office/drawing/2014/main" id="{8E33FDE5-8E17-7F8D-BC99-486DA774F52E}"/>
              </a:ext>
            </a:extLst>
          </p:cNvPr>
          <p:cNvSpPr txBox="1"/>
          <p:nvPr userDrawn="1"/>
        </p:nvSpPr>
        <p:spPr>
          <a:xfrm>
            <a:off x="647700" y="448713"/>
            <a:ext cx="11001373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3200" b="0" noProof="1">
                <a:solidFill>
                  <a:srgbClr val="001965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3892759-C4B6-4BDD-8735-886F2E05EE1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74000" y="4897450"/>
            <a:ext cx="475428" cy="17676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1740165-4EB8-F65C-8E17-DF7AB9E572E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 r="6029" b="2593"/>
          <a:stretch/>
        </p:blipFill>
        <p:spPr>
          <a:xfrm>
            <a:off x="7183300" y="1664025"/>
            <a:ext cx="1046300" cy="51914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3B219DD-4D39-78A1-267E-BE359226E01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 r="69458" b="2593"/>
          <a:stretch/>
        </p:blipFill>
        <p:spPr>
          <a:xfrm>
            <a:off x="7183300" y="5730260"/>
            <a:ext cx="340068" cy="51914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B48F98-737E-2B07-5676-868E5F9E8A4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 r="69458" b="2593"/>
          <a:stretch/>
        </p:blipFill>
        <p:spPr>
          <a:xfrm>
            <a:off x="11021150" y="1980243"/>
            <a:ext cx="340068" cy="519148"/>
          </a:xfrm>
          <a:prstGeom prst="rect">
            <a:avLst/>
          </a:prstGeom>
        </p:spPr>
      </p:pic>
      <p:sp>
        <p:nvSpPr>
          <p:cNvPr id="19" name="Text Box 4">
            <a:extLst>
              <a:ext uri="{FF2B5EF4-FFF2-40B4-BE49-F238E27FC236}">
                <a16:creationId xmlns:a16="http://schemas.microsoft.com/office/drawing/2014/main" id="{53B1BADF-59C2-569F-DD8D-299311735FE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4659" y="5461991"/>
            <a:ext cx="2358243" cy="87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TEMPL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Click the blue </a:t>
            </a:r>
            <a:r>
              <a:rPr lang="en-US" altLang="da-DK" sz="900" b="1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US" altLang="da-DK" sz="900" b="0" baseline="0" noProof="1">
                <a:solidFill>
                  <a:srgbClr val="001965"/>
                </a:solidFill>
                <a:latin typeface="+mn-lt"/>
                <a:cs typeface="Arial" panose="020B0604020202020204" pitchFamily="34" charset="0"/>
              </a:rPr>
              <a:t>button and click on ‘Find template’ in the bottom of the Templafy pane on the right side of the screen</a:t>
            </a:r>
            <a:r>
              <a:rPr kumimoji="0" lang="en-US" altLang="da-DK" sz="900" b="0" i="0" u="none" strike="noStrike" kern="1200" cap="none" spc="0" normalizeH="0" baseline="0" noProof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.</a:t>
            </a:r>
            <a:endParaRPr lang="en-US" altLang="da-DK" sz="900" b="1" noProof="1">
              <a:solidFill>
                <a:srgbClr val="001965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82529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4400" b="0" noProof="0" dirty="0">
                <a:solidFill>
                  <a:schemeClr val="bg1"/>
                </a:solidFill>
              </a:rPr>
              <a:t>If you see any </a:t>
            </a:r>
            <a:r>
              <a:rPr lang="en-US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US" sz="4400" b="0" i="0" noProof="0" dirty="0">
                <a:solidFill>
                  <a:schemeClr val="bg1"/>
                </a:solidFill>
              </a:rPr>
              <a:t>one</a:t>
            </a:r>
            <a:r>
              <a:rPr lang="en-US" sz="4400" b="1" i="1" noProof="0" dirty="0">
                <a:solidFill>
                  <a:schemeClr val="bg1"/>
                </a:solidFill>
              </a:rPr>
              <a:t>,</a:t>
            </a:r>
            <a:br>
              <a:rPr lang="en-US" sz="4400" b="0" i="0" noProof="0" dirty="0">
                <a:solidFill>
                  <a:schemeClr val="bg1"/>
                </a:solidFill>
              </a:rPr>
            </a:br>
            <a:r>
              <a:rPr lang="en-US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US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US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US" sz="2800" b="0" noProof="0" dirty="0">
                <a:solidFill>
                  <a:schemeClr val="bg1"/>
                </a:solidFill>
              </a:rPr>
            </a:br>
            <a:br>
              <a:rPr lang="en-US" sz="2800" b="0" noProof="0" dirty="0">
                <a:solidFill>
                  <a:schemeClr val="bg1"/>
                </a:solidFill>
              </a:rPr>
            </a:br>
            <a:endParaRPr lang="en-US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800" b="1" i="1" noProof="0" dirty="0">
                <a:solidFill>
                  <a:schemeClr val="bg1"/>
                </a:solidFill>
              </a:rPr>
              <a:t>Do not use </a:t>
            </a:r>
            <a:endParaRPr lang="en-US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US" sz="1800" b="0" noProof="0" dirty="0">
                <a:solidFill>
                  <a:schemeClr val="bg1"/>
                </a:solidFill>
              </a:rPr>
            </a:br>
            <a:endParaRPr lang="en-US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146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36356" y="2163600"/>
            <a:ext cx="6408844" cy="2379600"/>
          </a:xfrm>
        </p:spPr>
        <p:txBody>
          <a:bodyPr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3DB85B7-7760-4094-B5B7-6A45B6116B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36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1" name="Date Placeholder 6">
            <a:extLst>
              <a:ext uri="{FF2B5EF4-FFF2-40B4-BE49-F238E27FC236}">
                <a16:creationId xmlns:a16="http://schemas.microsoft.com/office/drawing/2014/main" id="{353E10AF-D600-4770-A150-4A8ED3F945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36000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7ACB837-D775-4027-8A9A-8A934ABD2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000" y="324000"/>
            <a:ext cx="4488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DB09BC2-598E-40D3-B291-F2AE97681E1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3" name="Footer Placeholder 7">
            <a:extLst>
              <a:ext uri="{FF2B5EF4-FFF2-40B4-BE49-F238E27FC236}">
                <a16:creationId xmlns:a16="http://schemas.microsoft.com/office/drawing/2014/main" id="{6065F747-4561-4901-98B7-BF5233165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871C597D-634C-4C0B-95AD-0C969D5845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dynamic logo" descr="{&quot;templafy&quot;:{&quot;id&quot;:&quot;e14c1e8b-e5f8-4300-ad3b-146d5f4e19b1&quot;}}" title="Form.PLogoChoice.PLogoInsertion">
            <a:extLst>
              <a:ext uri="{FF2B5EF4-FFF2-40B4-BE49-F238E27FC236}">
                <a16:creationId xmlns:a16="http://schemas.microsoft.com/office/drawing/2014/main" id="{519FA106-F411-F9C9-D449-308F55049C8F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  <p:sp>
        <p:nvSpPr>
          <p:cNvPr id="4" name="dynamic year 100" descr="{&quot;templafy&quot;:{&quot;id&quot;:&quot;338c16ac-f273-427c-872a-10119817d4de&quot;}}" title="Form.PLogoChoice.PLogoInsertion">
            <a:extLst>
              <a:ext uri="{FF2B5EF4-FFF2-40B4-BE49-F238E27FC236}">
                <a16:creationId xmlns:a16="http://schemas.microsoft.com/office/drawing/2014/main" id="{6031507D-6644-A3B6-BBED-4B812C95A402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4857131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F3B750-FD0B-4117-8CF8-02751916C1F8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01 Agenda poi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A42DB6-37C7-4655-8383-4D4C615303B7}"/>
              </a:ext>
            </a:extLst>
          </p:cNvPr>
          <p:cNvSpPr txBox="1"/>
          <p:nvPr userDrawn="1"/>
        </p:nvSpPr>
        <p:spPr>
          <a:xfrm>
            <a:off x="7381875" y="2819981"/>
            <a:ext cx="4162126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720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4BBEEFE-FD1C-41BE-8701-C445D2EB12C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" name="dynamic logo white" descr="{&quot;templafy&quot;:{&quot;id&quot;:&quot;80599211-5dd2-40f7-9253-167e1299118d&quot;}}" title="Form.PLogoChoice.PLogoInsertionWhite">
            <a:extLst>
              <a:ext uri="{FF2B5EF4-FFF2-40B4-BE49-F238E27FC236}">
                <a16:creationId xmlns:a16="http://schemas.microsoft.com/office/drawing/2014/main" id="{6ED7F931-BA7C-4B68-C51D-0E73BD0BBFC9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2198317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Agenda">
    <p:bg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AB77215-63F5-457D-BB11-70300B8118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tx2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01 Agenda poi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" name="dynamic logo" descr="{&quot;templafy&quot;:{&quot;id&quot;:&quot;da84e5de-a58e-41d9-8944-b7faf5871c01&quot;}}" title="Form.PLogoChoice.PLogoInsertion">
            <a:extLst>
              <a:ext uri="{FF2B5EF4-FFF2-40B4-BE49-F238E27FC236}">
                <a16:creationId xmlns:a16="http://schemas.microsoft.com/office/drawing/2014/main" id="{3812ECF8-B6AF-45BC-FBA9-ACA31DD77C64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  <p:sp>
        <p:nvSpPr>
          <p:cNvPr id="5" name="dynamic year 100" descr="{&quot;templafy&quot;:{&quot;id&quot;:&quot;168bd182-9ef5-4e3d-b512-1d83c5fd765c&quot;}}" hidden="1" title="Form.PLogoChoice.PLogoInsertion">
            <a:extLst>
              <a:ext uri="{FF2B5EF4-FFF2-40B4-BE49-F238E27FC236}">
                <a16:creationId xmlns:a16="http://schemas.microsoft.com/office/drawing/2014/main" id="{97129AA5-5F6C-4D56-9FE7-7F7D411655B5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098007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anded Agenda">
    <p:bg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2AD94F7-3470-4EDF-8360-C604BB358116}" type="datetime3">
              <a:rPr lang="en-US" smtClean="0"/>
              <a:t>8 October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5" name="dynamic year 100" descr="{&quot;templafy&quot;:{&quot;id&quot;:&quot;73490c22-471e-4781-8099-e9f104573d1e&quot;}}" title="Form.PLogoChoice.PLogoInsertion">
            <a:extLst>
              <a:ext uri="{FF2B5EF4-FFF2-40B4-BE49-F238E27FC236}">
                <a16:creationId xmlns:a16="http://schemas.microsoft.com/office/drawing/2014/main" id="{289874BE-970D-D4C8-9E09-95F2102C6FC5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" name="dynamic logo" descr="{&quot;templafy&quot;:{&quot;id&quot;:&quot;33916994-bb0c-44ec-a8d4-4da1879bf7d0&quot;}}" title="Form.PLogoChoice.PLogoInsertion">
            <a:extLst>
              <a:ext uri="{FF2B5EF4-FFF2-40B4-BE49-F238E27FC236}">
                <a16:creationId xmlns:a16="http://schemas.microsoft.com/office/drawing/2014/main" id="{E9B6A2DE-5699-838D-85ED-F231108A9E42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17712011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Agenda">
    <p:bg bwMode="grayWhite"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94AFEEA-94E5-4AC9-A1E0-1C0A39ED59B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04617A3-773E-4D38-A193-F8C5B6A52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648000"/>
            <a:ext cx="6408000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>
                <a:solidFill>
                  <a:schemeClr val="tx2"/>
                </a:solidFill>
              </a:defRPr>
            </a:lvl1pPr>
            <a:lvl2pPr marL="270000" indent="-2700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Agenda poi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7999" y="648000"/>
            <a:ext cx="1920001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1pPr>
            <a:lvl2pPr marL="270000" indent="-2700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09.00-09.3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 bwMode="gray"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dynamic logo" descr="{&quot;templafy&quot;:{&quot;id&quot;:&quot;6bb09c38-291a-40fc-9f21-322598dbf764&quot;}}" title="Form.PLogoChoice.PLogoInsertion">
            <a:extLst>
              <a:ext uri="{FF2B5EF4-FFF2-40B4-BE49-F238E27FC236}">
                <a16:creationId xmlns:a16="http://schemas.microsoft.com/office/drawing/2014/main" id="{DBA87621-FA2E-E421-4CC1-24DDCD64E244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  <p:sp>
        <p:nvSpPr>
          <p:cNvPr id="4" name="dynamic year 100" descr="{&quot;templafy&quot;:{&quot;id&quot;:&quot;194304f5-a506-44bf-af87-2a6a96f3de78&quot;}}" title="Form.PLogoChoice.PLogoInsertion">
            <a:extLst>
              <a:ext uri="{FF2B5EF4-FFF2-40B4-BE49-F238E27FC236}">
                <a16:creationId xmlns:a16="http://schemas.microsoft.com/office/drawing/2014/main" id="{51093488-6AB7-37A0-89EA-AB79F453A222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684084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7E7C513-B1CD-4706-976C-28D5F1922773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5562000"/>
          </a:xfrm>
        </p:spPr>
        <p:txBody>
          <a:bodyPr anchor="ctr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602F927-C35A-415E-909F-7517AD1B0FFA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6" name="dynamic logo white" descr="{&quot;templafy&quot;:{&quot;id&quot;:&quot;2dd1c52b-e840-4584-af80-3688139ce934&quot;}}" title="Form.PLogoChoice.PLogoInsertionWhite">
            <a:extLst>
              <a:ext uri="{FF2B5EF4-FFF2-40B4-BE49-F238E27FC236}">
                <a16:creationId xmlns:a16="http://schemas.microsoft.com/office/drawing/2014/main" id="{87CB8881-FDC3-C4D2-8ABE-C8D9F50F5E75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19713822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tags" Target="../tags/tag83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8.xml"/><Relationship Id="rId47" Type="http://schemas.openxmlformats.org/officeDocument/2006/relationships/tags" Target="../tags/tag13.xml"/><Relationship Id="rId63" Type="http://schemas.openxmlformats.org/officeDocument/2006/relationships/tags" Target="../tags/tag29.xml"/><Relationship Id="rId68" Type="http://schemas.openxmlformats.org/officeDocument/2006/relationships/tags" Target="../tags/tag34.xml"/><Relationship Id="rId84" Type="http://schemas.openxmlformats.org/officeDocument/2006/relationships/tags" Target="../tags/tag50.xml"/><Relationship Id="rId89" Type="http://schemas.openxmlformats.org/officeDocument/2006/relationships/tags" Target="../tags/tag55.xml"/><Relationship Id="rId112" Type="http://schemas.openxmlformats.org/officeDocument/2006/relationships/tags" Target="../tags/tag78.xml"/><Relationship Id="rId16" Type="http://schemas.openxmlformats.org/officeDocument/2006/relationships/slideLayout" Target="../slideLayouts/slideLayout16.xml"/><Relationship Id="rId107" Type="http://schemas.openxmlformats.org/officeDocument/2006/relationships/tags" Target="../tags/tag73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53" Type="http://schemas.openxmlformats.org/officeDocument/2006/relationships/tags" Target="../tags/tag19.xml"/><Relationship Id="rId58" Type="http://schemas.openxmlformats.org/officeDocument/2006/relationships/tags" Target="../tags/tag24.xml"/><Relationship Id="rId74" Type="http://schemas.openxmlformats.org/officeDocument/2006/relationships/tags" Target="../tags/tag40.xml"/><Relationship Id="rId79" Type="http://schemas.openxmlformats.org/officeDocument/2006/relationships/tags" Target="../tags/tag45.xml"/><Relationship Id="rId102" Type="http://schemas.openxmlformats.org/officeDocument/2006/relationships/tags" Target="../tags/tag68.xml"/><Relationship Id="rId5" Type="http://schemas.openxmlformats.org/officeDocument/2006/relationships/slideLayout" Target="../slideLayouts/slideLayout5.xml"/><Relationship Id="rId90" Type="http://schemas.openxmlformats.org/officeDocument/2006/relationships/tags" Target="../tags/tag56.xml"/><Relationship Id="rId95" Type="http://schemas.openxmlformats.org/officeDocument/2006/relationships/tags" Target="../tags/tag61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tags" Target="../tags/tag9.xml"/><Relationship Id="rId48" Type="http://schemas.openxmlformats.org/officeDocument/2006/relationships/tags" Target="../tags/tag14.xml"/><Relationship Id="rId64" Type="http://schemas.openxmlformats.org/officeDocument/2006/relationships/tags" Target="../tags/tag30.xml"/><Relationship Id="rId69" Type="http://schemas.openxmlformats.org/officeDocument/2006/relationships/tags" Target="../tags/tag35.xml"/><Relationship Id="rId113" Type="http://schemas.openxmlformats.org/officeDocument/2006/relationships/tags" Target="../tags/tag79.xml"/><Relationship Id="rId118" Type="http://schemas.openxmlformats.org/officeDocument/2006/relationships/tags" Target="../tags/tag84.xml"/><Relationship Id="rId80" Type="http://schemas.openxmlformats.org/officeDocument/2006/relationships/tags" Target="../tags/tag46.xml"/><Relationship Id="rId85" Type="http://schemas.openxmlformats.org/officeDocument/2006/relationships/tags" Target="../tags/tag51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4.xml"/><Relationship Id="rId59" Type="http://schemas.openxmlformats.org/officeDocument/2006/relationships/tags" Target="../tags/tag25.xml"/><Relationship Id="rId103" Type="http://schemas.openxmlformats.org/officeDocument/2006/relationships/tags" Target="../tags/tag69.xml"/><Relationship Id="rId108" Type="http://schemas.openxmlformats.org/officeDocument/2006/relationships/tags" Target="../tags/tag74.xml"/><Relationship Id="rId54" Type="http://schemas.openxmlformats.org/officeDocument/2006/relationships/tags" Target="../tags/tag20.xml"/><Relationship Id="rId70" Type="http://schemas.openxmlformats.org/officeDocument/2006/relationships/tags" Target="../tags/tag36.xml"/><Relationship Id="rId75" Type="http://schemas.openxmlformats.org/officeDocument/2006/relationships/tags" Target="../tags/tag41.xml"/><Relationship Id="rId91" Type="http://schemas.openxmlformats.org/officeDocument/2006/relationships/tags" Target="../tags/tag57.xml"/><Relationship Id="rId96" Type="http://schemas.openxmlformats.org/officeDocument/2006/relationships/tags" Target="../tags/tag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tags" Target="../tags/tag15.xml"/><Relationship Id="rId114" Type="http://schemas.openxmlformats.org/officeDocument/2006/relationships/tags" Target="../tags/tag80.xml"/><Relationship Id="rId119" Type="http://schemas.openxmlformats.org/officeDocument/2006/relationships/tags" Target="../tags/tag85.xml"/><Relationship Id="rId44" Type="http://schemas.openxmlformats.org/officeDocument/2006/relationships/tags" Target="../tags/tag10.xml"/><Relationship Id="rId60" Type="http://schemas.openxmlformats.org/officeDocument/2006/relationships/tags" Target="../tags/tag26.xml"/><Relationship Id="rId65" Type="http://schemas.openxmlformats.org/officeDocument/2006/relationships/tags" Target="../tags/tag31.xml"/><Relationship Id="rId81" Type="http://schemas.openxmlformats.org/officeDocument/2006/relationships/tags" Target="../tags/tag47.xml"/><Relationship Id="rId86" Type="http://schemas.openxmlformats.org/officeDocument/2006/relationships/tags" Target="../tags/tag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5.xml"/><Relationship Id="rId109" Type="http://schemas.openxmlformats.org/officeDocument/2006/relationships/tags" Target="../tags/tag75.xml"/><Relationship Id="rId34" Type="http://schemas.openxmlformats.org/officeDocument/2006/relationships/theme" Target="../theme/theme1.xml"/><Relationship Id="rId50" Type="http://schemas.openxmlformats.org/officeDocument/2006/relationships/tags" Target="../tags/tag16.xml"/><Relationship Id="rId55" Type="http://schemas.openxmlformats.org/officeDocument/2006/relationships/tags" Target="../tags/tag21.xml"/><Relationship Id="rId76" Type="http://schemas.openxmlformats.org/officeDocument/2006/relationships/tags" Target="../tags/tag42.xml"/><Relationship Id="rId97" Type="http://schemas.openxmlformats.org/officeDocument/2006/relationships/tags" Target="../tags/tag63.xml"/><Relationship Id="rId104" Type="http://schemas.openxmlformats.org/officeDocument/2006/relationships/tags" Target="../tags/tag70.xml"/><Relationship Id="rId120" Type="http://schemas.openxmlformats.org/officeDocument/2006/relationships/tags" Target="../tags/tag86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37.xml"/><Relationship Id="rId92" Type="http://schemas.openxmlformats.org/officeDocument/2006/relationships/tags" Target="../tags/tag58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6.xml"/><Relationship Id="rId45" Type="http://schemas.openxmlformats.org/officeDocument/2006/relationships/tags" Target="../tags/tag11.xml"/><Relationship Id="rId66" Type="http://schemas.openxmlformats.org/officeDocument/2006/relationships/tags" Target="../tags/tag32.xml"/><Relationship Id="rId87" Type="http://schemas.openxmlformats.org/officeDocument/2006/relationships/tags" Target="../tags/tag53.xml"/><Relationship Id="rId110" Type="http://schemas.openxmlformats.org/officeDocument/2006/relationships/tags" Target="../tags/tag76.xml"/><Relationship Id="rId115" Type="http://schemas.openxmlformats.org/officeDocument/2006/relationships/tags" Target="../tags/tag81.xml"/><Relationship Id="rId61" Type="http://schemas.openxmlformats.org/officeDocument/2006/relationships/tags" Target="../tags/tag27.xml"/><Relationship Id="rId82" Type="http://schemas.openxmlformats.org/officeDocument/2006/relationships/tags" Target="../tags/tag48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56" Type="http://schemas.openxmlformats.org/officeDocument/2006/relationships/tags" Target="../tags/tag22.xml"/><Relationship Id="rId77" Type="http://schemas.openxmlformats.org/officeDocument/2006/relationships/tags" Target="../tags/tag43.xml"/><Relationship Id="rId100" Type="http://schemas.openxmlformats.org/officeDocument/2006/relationships/tags" Target="../tags/tag66.xml"/><Relationship Id="rId105" Type="http://schemas.openxmlformats.org/officeDocument/2006/relationships/tags" Target="../tags/tag71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7.xml"/><Relationship Id="rId72" Type="http://schemas.openxmlformats.org/officeDocument/2006/relationships/tags" Target="../tags/tag38.xml"/><Relationship Id="rId93" Type="http://schemas.openxmlformats.org/officeDocument/2006/relationships/tags" Target="../tags/tag59.xml"/><Relationship Id="rId98" Type="http://schemas.openxmlformats.org/officeDocument/2006/relationships/tags" Target="../tags/tag64.xml"/><Relationship Id="rId121" Type="http://schemas.openxmlformats.org/officeDocument/2006/relationships/tags" Target="../tags/tag87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tags" Target="../tags/tag12.xml"/><Relationship Id="rId67" Type="http://schemas.openxmlformats.org/officeDocument/2006/relationships/tags" Target="../tags/tag33.xml"/><Relationship Id="rId116" Type="http://schemas.openxmlformats.org/officeDocument/2006/relationships/tags" Target="../tags/tag82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7.xml"/><Relationship Id="rId62" Type="http://schemas.openxmlformats.org/officeDocument/2006/relationships/tags" Target="../tags/tag28.xml"/><Relationship Id="rId83" Type="http://schemas.openxmlformats.org/officeDocument/2006/relationships/tags" Target="../tags/tag49.xml"/><Relationship Id="rId88" Type="http://schemas.openxmlformats.org/officeDocument/2006/relationships/tags" Target="../tags/tag54.xml"/><Relationship Id="rId111" Type="http://schemas.openxmlformats.org/officeDocument/2006/relationships/tags" Target="../tags/tag77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2.xml"/><Relationship Id="rId57" Type="http://schemas.openxmlformats.org/officeDocument/2006/relationships/tags" Target="../tags/tag23.xml"/><Relationship Id="rId106" Type="http://schemas.openxmlformats.org/officeDocument/2006/relationships/tags" Target="../tags/tag72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tags" Target="../tags/tag18.xml"/><Relationship Id="rId73" Type="http://schemas.openxmlformats.org/officeDocument/2006/relationships/tags" Target="../tags/tag39.xml"/><Relationship Id="rId78" Type="http://schemas.openxmlformats.org/officeDocument/2006/relationships/tags" Target="../tags/tag44.xml"/><Relationship Id="rId94" Type="http://schemas.openxmlformats.org/officeDocument/2006/relationships/tags" Target="../tags/tag60.xml"/><Relationship Id="rId99" Type="http://schemas.openxmlformats.org/officeDocument/2006/relationships/tags" Target="../tags/tag65.xml"/><Relationship Id="rId101" Type="http://schemas.openxmlformats.org/officeDocument/2006/relationships/tags" Target="../tags/tag67.xml"/><Relationship Id="rId122" Type="http://schemas.openxmlformats.org/officeDocument/2006/relationships/tags" Target="../tags/tag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, Header</a:t>
            </a:r>
          </a:p>
          <a:p>
            <a:pPr lvl="4"/>
            <a:r>
              <a:rPr lang="en-US" noProof="0" dirty="0"/>
              <a:t>Level 5, Body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, Small Header</a:t>
            </a:r>
          </a:p>
          <a:p>
            <a:pPr lvl="7"/>
            <a:r>
              <a:rPr lang="en-US" noProof="0" dirty="0"/>
              <a:t>Level 8, Small Body</a:t>
            </a:r>
          </a:p>
          <a:p>
            <a:pPr lvl="8"/>
            <a:r>
              <a:rPr lang="en-US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8000" y="324000"/>
            <a:ext cx="1920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92712" y="323850"/>
            <a:ext cx="4162138" cy="12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78D69B5-2783-4637-A949-A867EE4EFE6B}"/>
              </a:ext>
            </a:extLst>
          </p:cNvPr>
          <p:cNvSpPr txBox="1"/>
          <p:nvPr userDrawn="1"/>
        </p:nvSpPr>
        <p:spPr>
          <a:xfrm>
            <a:off x="11218069" y="324000"/>
            <a:ext cx="648494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700" dirty="0">
                <a:solidFill>
                  <a:schemeClr val="tx2"/>
                </a:solidFill>
              </a:rPr>
              <a:t>Novo Nordisk</a:t>
            </a:r>
            <a:r>
              <a:rPr lang="en-US" sz="700" baseline="30000" dirty="0">
                <a:solidFill>
                  <a:schemeClr val="tx2"/>
                </a:solidFill>
              </a:rPr>
              <a:t>®</a:t>
            </a:r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0BD45F-E3FD-4877-8E01-D258D6C49ED2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1F8F4EB-98F9-49C6-AD23-0434FEEA7DAD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461F43A-D29F-4117-83B4-78ECC6A90694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885B838-2022-4A1F-A84B-BB1127E2EE43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C6417FB-6B96-4CAA-9A61-CE3C85379335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8F2338E-050E-4997-B5FD-16609E6B05AC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5330914-84C1-4EFF-8088-9FF9153B21A3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D9F1F0C-68CC-4F13-A58D-7D5850D6BABB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CD1A103-17AC-4A34-8A1D-92E20B67C019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D17E478-3C99-48E5-91A4-253FD970A082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CBDE3FC-87C8-4EA6-8040-812BA3745D76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994EE5B0-B3FC-43D9-8B31-B03CA4819265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1B943CE-F983-40CB-852B-B348DA0EECF9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195AE9FF-57B5-4B28-95BD-65EB616F8339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9C4273C-D9B3-4E1C-BECF-E403BC0FED81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61A9C98-DFAC-4C93-9FC3-FA4B7268AFD4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2738953D-847C-44BC-BB1D-3E35D57608D4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A85DD5C0-07B7-493F-ACD2-090488BDD5B6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2D03EC4E-106A-492D-9392-E8DAE462F1BE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20022031-21E7-4D6F-92EB-D2DDACC3013D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0D8C0033-6DD1-44FA-8D1E-C266A6CB5E58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5405C511-8E76-4F70-B418-D42EFC88B59C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3A318B50-011A-4077-B856-5AA6365091AC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6A2BCA5B-FE07-43B1-A4B7-31BD6164A6E4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5C40FFBD-7783-45AC-8A2B-097F0420F8BE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4CEBE773-5EE2-48C7-957B-8390AB5ACC07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A88B1085-4452-48B2-ABE2-B39A1F2C8B5C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35677462-D07F-483C-9C29-E04937D96970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719982BD-DEFC-4091-A576-C424DBA3C4DD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09DABF0B-9E1E-4C4B-B44A-B858D0F51253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4C2D3A6A-66FD-4AEE-8C1E-B6E5EECF6AC4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2D1F338B-CF9E-4B33-946A-4DB709760AF6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C62DDC7A-A75D-47D1-8199-CF07F2BDFB07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58B5BE77-B2A7-4D7F-8E0B-C3E954ED65B5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FCFBBBC3-8FB6-4FAC-ADAD-D2D96E64A22C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2C5A7DD2-B5CE-413A-9B54-583BA9EBCDFF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D9461BA4-4B7F-4140-AC43-136B90730752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id="{DEB946CF-96A1-4659-9385-72D850C9C025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id="{742C5205-4F49-47AB-B503-BC7F63858642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id="{5B2DC920-B604-43E9-ADC1-B26167353D44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419CE6B2-B4FC-4BBD-937B-2FAF2EC436EB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id="{24F744BF-7A2A-44A1-99AF-BF4D80F50B40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id="{4A561C12-BD2C-4ABE-9ACE-047842A9B253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1F79B3EE-7015-44C0-B98B-D7976E3CC6C0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id="{55195DF3-05B5-49EC-8E2A-6D131BFB07E4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6C7ACCBF-3785-451F-8D26-06EB8169ED29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DB1FB36-F0B8-4569-B24C-A7FE882E3A0D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id="{A16BF7E9-5EB1-4763-B3B3-B9BDDFCE9368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id="{B859330A-8EF0-4EC1-8579-E436CA633192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id="{28ADAA1F-5B13-4CA7-92F6-B9BD284DD1E1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D063FCBC-0F82-4BF7-A4F3-63086372BCA1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id="{CE645546-D2AC-47E6-9FEE-B872688AACBC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id="{67D40869-4909-44AB-ADF7-F7E881C8F368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id="{135A9F82-A30E-49D6-85D5-F27123AF0F10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id="{95983F4E-3EE6-4BD7-AD35-C47ED01C5ED4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id="{F717EFA4-0ED4-4A46-9AFD-0F0A6E65D253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6E85224F-39CC-4044-9201-BDF5309E2509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C5FFBE79-1CFF-48A7-9FA3-6763881AA963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id="{C7039B6D-AC56-40A5-858D-599754E1E0AD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id="{71018EC8-1FEE-415C-B1E0-DAFC251C6F4F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33D0B803-F928-4AB8-9FA8-7A2550C65926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A74BCB38-7D1D-4BB9-94CE-ADBDC5DAB010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id="{6E6BC775-1DC0-42CB-BA95-EB6F78CFD0FE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id="{95792BBB-2B34-4739-8C69-B66E64F8A279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id="{E8FDD868-6922-48B4-976C-6F9677663DAF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E3A8AF86-B9FD-4654-82BA-248AF9D72F7C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id="{F1579785-2978-4428-A96D-6D6718940F9D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id="{0584FA97-4AB6-4A5E-91FB-95E9E602EA26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id="{A48EE25C-475F-4316-B6A2-011BEE3BCD92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7E857FE4-C9A3-45B7-B041-66EE09495EEC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id="{9B5A1CBD-EB02-4B45-AF38-AAD0F53B4AD5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B80B4760-EF40-4F2E-9A91-131FFC1E37B4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id="{8E8A7F77-3721-4815-B970-1D077CD2DA75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id="{55C42CA1-292D-4FB8-8399-74D1AD374EBE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id="{76F4910F-0223-4A58-B2B3-CC1032CA6A96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id="{309CA6FE-3AA4-4E04-82CE-33A9467E0E6A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id="{D3FAE458-E122-4E17-A2BB-860390DB639B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09CCF6D6-3C14-49F1-9CCF-BB2BB02BA463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id="{89199ED3-108C-4CB1-85A2-7274AF6D76B6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id="{F4889CBE-7887-46C6-99BA-4A154FF96016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id="{2714EDDA-63CD-4C57-BF1D-55D84EF7DA1C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id="{5A4A540B-AB24-4508-BDE2-193816CE6C2F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id="{2E588317-42FC-4AFD-BF07-4EEAEA17B0FB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id="{409B9FF3-D5DB-4C25-942C-75E24E0BD588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id="{B34EB183-B95A-4A10-93F6-B2E688291320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id="{9445802B-D13B-4448-BCCA-EAC068866CD3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id="{C10B3B33-18E6-4256-821F-887D5B33BF81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C76950B1-616E-4DAB-A1C9-C18FEC9C31D4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7" name="dynamic logo" descr="{&quot;templafy&quot;:{&quot;id&quot;:&quot;c9c227f4-8c26-4e0b-8322-1349491b018a&quot;}}" title="Form.PLogoChoice.PLogoInsertion">
            <a:extLst>
              <a:ext uri="{FF2B5EF4-FFF2-40B4-BE49-F238E27FC236}">
                <a16:creationId xmlns:a16="http://schemas.microsoft.com/office/drawing/2014/main" id="{AB8085D7-A93F-4552-0ECF-15ED05B26B33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92" r:id="rId2"/>
    <p:sldLayoutId id="2147483796" r:id="rId3"/>
    <p:sldLayoutId id="2147483730" r:id="rId4"/>
    <p:sldLayoutId id="2147483737" r:id="rId5"/>
    <p:sldLayoutId id="2147483801" r:id="rId6"/>
    <p:sldLayoutId id="2147483806" r:id="rId7"/>
    <p:sldLayoutId id="2147483765" r:id="rId8"/>
    <p:sldLayoutId id="2147483731" r:id="rId9"/>
    <p:sldLayoutId id="2147483766" r:id="rId10"/>
    <p:sldLayoutId id="2147483802" r:id="rId11"/>
    <p:sldLayoutId id="2147483804" r:id="rId12"/>
    <p:sldLayoutId id="2147483797" r:id="rId13"/>
    <p:sldLayoutId id="2147483732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90" r:id="rId21"/>
    <p:sldLayoutId id="2147483793" r:id="rId22"/>
    <p:sldLayoutId id="2147483798" r:id="rId23"/>
    <p:sldLayoutId id="2147483794" r:id="rId24"/>
    <p:sldLayoutId id="2147483795" r:id="rId25"/>
    <p:sldLayoutId id="2147483743" r:id="rId26"/>
    <p:sldLayoutId id="2147483744" r:id="rId27"/>
    <p:sldLayoutId id="2147483803" r:id="rId28"/>
    <p:sldLayoutId id="2147483805" r:id="rId29"/>
    <p:sldLayoutId id="2147483807" r:id="rId30"/>
    <p:sldLayoutId id="2147483808" r:id="rId31"/>
    <p:sldLayoutId id="2147483762" r:id="rId32"/>
    <p:sldLayoutId id="2147483751" r:id="rId33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8" userDrawn="1">
          <p15:clr>
            <a:srgbClr val="A4A3A4"/>
          </p15:clr>
        </p15:guide>
        <p15:guide id="2" pos="1617" userDrawn="1">
          <p15:clr>
            <a:srgbClr val="A4A3A4"/>
          </p15:clr>
        </p15:guide>
        <p15:guide id="5" pos="3031" userDrawn="1">
          <p15:clr>
            <a:srgbClr val="A4A3A4"/>
          </p15:clr>
        </p15:guide>
        <p15:guide id="6" pos="3235" userDrawn="1">
          <p15:clr>
            <a:srgbClr val="A4A3A4"/>
          </p15:clr>
        </p15:guide>
        <p15:guide id="7" orient="horz" pos="3911" userDrawn="1">
          <p15:clr>
            <a:srgbClr val="A4A3A4"/>
          </p15:clr>
        </p15:guide>
        <p15:guide id="8" orient="horz" pos="4115" userDrawn="1">
          <p15:clr>
            <a:srgbClr val="A4A3A4"/>
          </p15:clr>
        </p15:guide>
        <p15:guide id="9" pos="6063" userDrawn="1">
          <p15:clr>
            <a:srgbClr val="A4A3A4"/>
          </p15:clr>
        </p15:guide>
        <p15:guide id="10" pos="7272" userDrawn="1">
          <p15:clr>
            <a:srgbClr val="A4A3A4"/>
          </p15:clr>
        </p15:guide>
        <p15:guide id="12" pos="4444" userDrawn="1">
          <p15:clr>
            <a:srgbClr val="A4A3A4"/>
          </p15:clr>
        </p15:guide>
        <p15:guide id="13" pos="4648" userDrawn="1">
          <p15:clr>
            <a:srgbClr val="A4A3A4"/>
          </p15:clr>
        </p15:guide>
        <p15:guide id="14" orient="horz" pos="204" userDrawn="1">
          <p15:clr>
            <a:srgbClr val="A4A3A4"/>
          </p15:clr>
        </p15:guide>
        <p15:guide id="15" orient="horz" pos="408" userDrawn="1">
          <p15:clr>
            <a:srgbClr val="A4A3A4"/>
          </p15:clr>
        </p15:guide>
        <p15:guide id="16" pos="1821" userDrawn="1">
          <p15:clr>
            <a:srgbClr val="A4A3A4"/>
          </p15:clr>
        </p15:guide>
        <p15:guide id="18" pos="5859" userDrawn="1">
          <p15:clr>
            <a:srgbClr val="A4A3A4"/>
          </p15:clr>
        </p15:guide>
        <p15:guide id="20" pos="7476" userDrawn="1">
          <p15:clr>
            <a:srgbClr val="A4A3A4"/>
          </p15:clr>
        </p15:guide>
        <p15:guide id="21" pos="20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9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14CE662-896F-4B91-AC3E-A6F3F69CD6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14CE662-896F-4B91-AC3E-A6F3F69CD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FBC72BAF-DB7A-4B5D-BDA1-5D61A8D27C80}"/>
              </a:ext>
            </a:extLst>
          </p:cNvPr>
          <p:cNvGrpSpPr/>
          <p:nvPr/>
        </p:nvGrpSpPr>
        <p:grpSpPr>
          <a:xfrm>
            <a:off x="2864601" y="1446154"/>
            <a:ext cx="4736536" cy="4806005"/>
            <a:chOff x="4118290" y="941792"/>
            <a:chExt cx="4736536" cy="4806005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47129784-92BB-4512-AECB-0708BD1F2EBF}"/>
                </a:ext>
              </a:extLst>
            </p:cNvPr>
            <p:cNvGrpSpPr/>
            <p:nvPr/>
          </p:nvGrpSpPr>
          <p:grpSpPr>
            <a:xfrm>
              <a:off x="4118290" y="941792"/>
              <a:ext cx="4736536" cy="4689527"/>
              <a:chOff x="4118290" y="941792"/>
              <a:chExt cx="4736536" cy="4689527"/>
            </a:xfrm>
          </p:grpSpPr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51E0EF56-03CA-49AB-A53F-D3ECCF145F7A}"/>
                  </a:ext>
                </a:extLst>
              </p:cNvPr>
              <p:cNvSpPr/>
              <p:nvPr/>
            </p:nvSpPr>
            <p:spPr>
              <a:xfrm rot="8876369">
                <a:off x="6325593" y="941792"/>
                <a:ext cx="1263554" cy="1261010"/>
              </a:xfrm>
              <a:custGeom>
                <a:avLst/>
                <a:gdLst>
                  <a:gd name="connsiteX0" fmla="*/ 774963 w 1263554"/>
                  <a:gd name="connsiteY0" fmla="*/ 1261010 h 1261010"/>
                  <a:gd name="connsiteX1" fmla="*/ 603359 w 1263554"/>
                  <a:gd name="connsiteY1" fmla="*/ 1141070 h 1261010"/>
                  <a:gd name="connsiteX2" fmla="*/ 32150 w 1263554"/>
                  <a:gd name="connsiteY2" fmla="*/ 479108 h 1261010"/>
                  <a:gd name="connsiteX3" fmla="*/ 0 w 1263554"/>
                  <a:gd name="connsiteY3" fmla="*/ 415075 h 1261010"/>
                  <a:gd name="connsiteX4" fmla="*/ 820509 w 1263554"/>
                  <a:gd name="connsiteY4" fmla="*/ 0 h 1261010"/>
                  <a:gd name="connsiteX5" fmla="*/ 833600 w 1263554"/>
                  <a:gd name="connsiteY5" fmla="*/ 26075 h 1261010"/>
                  <a:gd name="connsiteX6" fmla="*/ 1169186 w 1263554"/>
                  <a:gd name="connsiteY6" fmla="*/ 414978 h 1261010"/>
                  <a:gd name="connsiteX7" fmla="*/ 1263554 w 1263554"/>
                  <a:gd name="connsiteY7" fmla="*/ 480936 h 1261010"/>
                  <a:gd name="connsiteX8" fmla="*/ 774963 w 1263554"/>
                  <a:gd name="connsiteY8" fmla="*/ 1261010 h 1261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63554" h="1261010">
                    <a:moveTo>
                      <a:pt x="774963" y="1261010"/>
                    </a:moveTo>
                    <a:lnTo>
                      <a:pt x="603359" y="1141070"/>
                    </a:lnTo>
                    <a:cubicBezTo>
                      <a:pt x="365243" y="955972"/>
                      <a:pt x="173577" y="729822"/>
                      <a:pt x="32150" y="479108"/>
                    </a:cubicBezTo>
                    <a:lnTo>
                      <a:pt x="0" y="415075"/>
                    </a:lnTo>
                    <a:lnTo>
                      <a:pt x="820509" y="0"/>
                    </a:lnTo>
                    <a:lnTo>
                      <a:pt x="833600" y="26075"/>
                    </a:lnTo>
                    <a:cubicBezTo>
                      <a:pt x="916688" y="173370"/>
                      <a:pt x="1029292" y="306233"/>
                      <a:pt x="1169186" y="414978"/>
                    </a:cubicBezTo>
                    <a:lnTo>
                      <a:pt x="1263554" y="480936"/>
                    </a:lnTo>
                    <a:lnTo>
                      <a:pt x="774963" y="126101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EEDF3D3D-7723-4D83-8D6E-88C944BA467A}"/>
                  </a:ext>
                </a:extLst>
              </p:cNvPr>
              <p:cNvSpPr/>
              <p:nvPr/>
            </p:nvSpPr>
            <p:spPr>
              <a:xfrm rot="8876369">
                <a:off x="5534890" y="1054106"/>
                <a:ext cx="1127554" cy="1104852"/>
              </a:xfrm>
              <a:custGeom>
                <a:avLst/>
                <a:gdLst>
                  <a:gd name="connsiteX0" fmla="*/ 0 w 1127554"/>
                  <a:gd name="connsiteY0" fmla="*/ 780074 h 1104852"/>
                  <a:gd name="connsiteX1" fmla="*/ 488591 w 1127554"/>
                  <a:gd name="connsiteY1" fmla="*/ 0 h 1104852"/>
                  <a:gd name="connsiteX2" fmla="*/ 582462 w 1127554"/>
                  <a:gd name="connsiteY2" fmla="*/ 52398 h 1104852"/>
                  <a:gd name="connsiteX3" fmla="*/ 1078839 w 1127554"/>
                  <a:gd name="connsiteY3" fmla="*/ 184585 h 1104852"/>
                  <a:gd name="connsiteX4" fmla="*/ 1127554 w 1127554"/>
                  <a:gd name="connsiteY4" fmla="*/ 185249 h 1104852"/>
                  <a:gd name="connsiteX5" fmla="*/ 1127553 w 1127554"/>
                  <a:gd name="connsiteY5" fmla="*/ 1104852 h 1104852"/>
                  <a:gd name="connsiteX6" fmla="*/ 1021047 w 1127554"/>
                  <a:gd name="connsiteY6" fmla="*/ 1103400 h 1104852"/>
                  <a:gd name="connsiteX7" fmla="*/ 176151 w 1127554"/>
                  <a:gd name="connsiteY7" fmla="*/ 878401 h 1104852"/>
                  <a:gd name="connsiteX8" fmla="*/ 0 w 1127554"/>
                  <a:gd name="connsiteY8" fmla="*/ 780074 h 1104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7554" h="1104852">
                    <a:moveTo>
                      <a:pt x="0" y="780074"/>
                    </a:moveTo>
                    <a:lnTo>
                      <a:pt x="488591" y="0"/>
                    </a:lnTo>
                    <a:lnTo>
                      <a:pt x="582462" y="52398"/>
                    </a:lnTo>
                    <a:cubicBezTo>
                      <a:pt x="741361" y="130798"/>
                      <a:pt x="910049" y="174119"/>
                      <a:pt x="1078839" y="184585"/>
                    </a:cubicBezTo>
                    <a:lnTo>
                      <a:pt x="1127554" y="185249"/>
                    </a:lnTo>
                    <a:lnTo>
                      <a:pt x="1127553" y="1104852"/>
                    </a:lnTo>
                    <a:lnTo>
                      <a:pt x="1021047" y="1103400"/>
                    </a:lnTo>
                    <a:cubicBezTo>
                      <a:pt x="733747" y="1085585"/>
                      <a:pt x="446618" y="1011848"/>
                      <a:pt x="176151" y="878401"/>
                    </a:cubicBezTo>
                    <a:lnTo>
                      <a:pt x="0" y="780074"/>
                    </a:lnTo>
                    <a:close/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CAE6F4A-618F-4399-BC9F-325869687AC3}"/>
                  </a:ext>
                </a:extLst>
              </p:cNvPr>
              <p:cNvSpPr/>
              <p:nvPr/>
            </p:nvSpPr>
            <p:spPr>
              <a:xfrm rot="8876369">
                <a:off x="7150853" y="1518121"/>
                <a:ext cx="1055300" cy="1056775"/>
              </a:xfrm>
              <a:custGeom>
                <a:avLst/>
                <a:gdLst>
                  <a:gd name="connsiteX0" fmla="*/ 234792 w 1055300"/>
                  <a:gd name="connsiteY0" fmla="*/ 1056775 h 1056775"/>
                  <a:gd name="connsiteX1" fmla="*/ 190864 w 1055300"/>
                  <a:gd name="connsiteY1" fmla="*/ 969284 h 1056775"/>
                  <a:gd name="connsiteX2" fmla="*/ 0 w 1055300"/>
                  <a:gd name="connsiteY2" fmla="*/ 138559 h 1056775"/>
                  <a:gd name="connsiteX3" fmla="*/ 1890 w 1055300"/>
                  <a:gd name="connsiteY3" fmla="*/ 0 h 1056775"/>
                  <a:gd name="connsiteX4" fmla="*/ 920957 w 1055300"/>
                  <a:gd name="connsiteY4" fmla="*/ 39312 h 1056775"/>
                  <a:gd name="connsiteX5" fmla="*/ 920026 w 1055300"/>
                  <a:gd name="connsiteY5" fmla="*/ 107559 h 1056775"/>
                  <a:gd name="connsiteX6" fmla="*/ 1032159 w 1055300"/>
                  <a:gd name="connsiteY6" fmla="*/ 595609 h 1056775"/>
                  <a:gd name="connsiteX7" fmla="*/ 1055300 w 1055300"/>
                  <a:gd name="connsiteY7" fmla="*/ 641700 h 1056775"/>
                  <a:gd name="connsiteX8" fmla="*/ 234792 w 1055300"/>
                  <a:gd name="connsiteY8" fmla="*/ 1056775 h 1056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5300" h="1056775">
                    <a:moveTo>
                      <a:pt x="234792" y="1056775"/>
                    </a:moveTo>
                    <a:lnTo>
                      <a:pt x="190864" y="969284"/>
                    </a:lnTo>
                    <a:cubicBezTo>
                      <a:pt x="74794" y="707319"/>
                      <a:pt x="9910" y="424914"/>
                      <a:pt x="0" y="138559"/>
                    </a:cubicBezTo>
                    <a:lnTo>
                      <a:pt x="1890" y="0"/>
                    </a:lnTo>
                    <a:lnTo>
                      <a:pt x="920957" y="39312"/>
                    </a:lnTo>
                    <a:lnTo>
                      <a:pt x="920026" y="107559"/>
                    </a:lnTo>
                    <a:cubicBezTo>
                      <a:pt x="925848" y="275793"/>
                      <a:pt x="963968" y="441706"/>
                      <a:pt x="1032159" y="595609"/>
                    </a:cubicBezTo>
                    <a:lnTo>
                      <a:pt x="1055300" y="641700"/>
                    </a:lnTo>
                    <a:lnTo>
                      <a:pt x="234792" y="105677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4A78435-310C-4146-A6F6-9054D4B8556F}"/>
                  </a:ext>
                </a:extLst>
              </p:cNvPr>
              <p:cNvSpPr/>
              <p:nvPr/>
            </p:nvSpPr>
            <p:spPr>
              <a:xfrm rot="8876369">
                <a:off x="4532362" y="1677768"/>
                <a:ext cx="1133295" cy="1096930"/>
              </a:xfrm>
              <a:custGeom>
                <a:avLst/>
                <a:gdLst>
                  <a:gd name="connsiteX0" fmla="*/ 0 w 1133295"/>
                  <a:gd name="connsiteY0" fmla="*/ 1096071 h 1096930"/>
                  <a:gd name="connsiteX1" fmla="*/ 0 w 1133295"/>
                  <a:gd name="connsiteY1" fmla="*/ 176468 h 1096930"/>
                  <a:gd name="connsiteX2" fmla="*/ 32025 w 1133295"/>
                  <a:gd name="connsiteY2" fmla="*/ 176904 h 1096930"/>
                  <a:gd name="connsiteX3" fmla="*/ 633100 w 1133295"/>
                  <a:gd name="connsiteY3" fmla="*/ 8025 h 1096930"/>
                  <a:gd name="connsiteX4" fmla="*/ 645834 w 1133295"/>
                  <a:gd name="connsiteY4" fmla="*/ 0 h 1096930"/>
                  <a:gd name="connsiteX5" fmla="*/ 1133295 w 1133295"/>
                  <a:gd name="connsiteY5" fmla="*/ 779754 h 1096930"/>
                  <a:gd name="connsiteX6" fmla="*/ 1086132 w 1133295"/>
                  <a:gd name="connsiteY6" fmla="*/ 809475 h 1096930"/>
                  <a:gd name="connsiteX7" fmla="*/ 63024 w 1133295"/>
                  <a:gd name="connsiteY7" fmla="*/ 1096930 h 1096930"/>
                  <a:gd name="connsiteX8" fmla="*/ 0 w 1133295"/>
                  <a:gd name="connsiteY8" fmla="*/ 1096071 h 1096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33295" h="1096930">
                    <a:moveTo>
                      <a:pt x="0" y="1096071"/>
                    </a:moveTo>
                    <a:lnTo>
                      <a:pt x="0" y="176468"/>
                    </a:lnTo>
                    <a:lnTo>
                      <a:pt x="32025" y="176904"/>
                    </a:lnTo>
                    <a:cubicBezTo>
                      <a:pt x="242317" y="169627"/>
                      <a:pt x="448983" y="111885"/>
                      <a:pt x="633100" y="8025"/>
                    </a:cubicBezTo>
                    <a:lnTo>
                      <a:pt x="645834" y="0"/>
                    </a:lnTo>
                    <a:lnTo>
                      <a:pt x="1133295" y="779754"/>
                    </a:lnTo>
                    <a:lnTo>
                      <a:pt x="1086132" y="809475"/>
                    </a:lnTo>
                    <a:cubicBezTo>
                      <a:pt x="772741" y="986259"/>
                      <a:pt x="420969" y="1084544"/>
                      <a:pt x="63024" y="1096930"/>
                    </a:cubicBezTo>
                    <a:lnTo>
                      <a:pt x="0" y="1096071"/>
                    </a:lnTo>
                    <a:close/>
                  </a:path>
                </a:pathLst>
              </a:custGeom>
              <a:solidFill>
                <a:srgbClr val="CCC5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897CACE-01C2-4BCF-A9C7-3893022DCF60}"/>
                  </a:ext>
                </a:extLst>
              </p:cNvPr>
              <p:cNvSpPr/>
              <p:nvPr/>
            </p:nvSpPr>
            <p:spPr>
              <a:xfrm rot="8876369">
                <a:off x="7682640" y="2429250"/>
                <a:ext cx="1092199" cy="1070494"/>
              </a:xfrm>
              <a:custGeom>
                <a:avLst/>
                <a:gdLst>
                  <a:gd name="connsiteX0" fmla="*/ 0 w 1092199"/>
                  <a:gd name="connsiteY0" fmla="*/ 1031182 h 1070494"/>
                  <a:gd name="connsiteX1" fmla="*/ 422 w 1092199"/>
                  <a:gd name="connsiteY1" fmla="*/ 1000225 h 1070494"/>
                  <a:gd name="connsiteX2" fmla="*/ 225421 w 1092199"/>
                  <a:gd name="connsiteY2" fmla="*/ 155329 h 1070494"/>
                  <a:gd name="connsiteX3" fmla="*/ 312125 w 1092199"/>
                  <a:gd name="connsiteY3" fmla="*/ 0 h 1070494"/>
                  <a:gd name="connsiteX4" fmla="*/ 1092199 w 1092199"/>
                  <a:gd name="connsiteY4" fmla="*/ 488591 h 1070494"/>
                  <a:gd name="connsiteX5" fmla="*/ 1051424 w 1092199"/>
                  <a:gd name="connsiteY5" fmla="*/ 561639 h 1070494"/>
                  <a:gd name="connsiteX6" fmla="*/ 919237 w 1092199"/>
                  <a:gd name="connsiteY6" fmla="*/ 1058016 h 1070494"/>
                  <a:gd name="connsiteX7" fmla="*/ 919067 w 1092199"/>
                  <a:gd name="connsiteY7" fmla="*/ 1070494 h 1070494"/>
                  <a:gd name="connsiteX8" fmla="*/ 0 w 1092199"/>
                  <a:gd name="connsiteY8" fmla="*/ 1031182 h 1070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2199" h="1070494">
                    <a:moveTo>
                      <a:pt x="0" y="1031182"/>
                    </a:moveTo>
                    <a:lnTo>
                      <a:pt x="422" y="1000225"/>
                    </a:lnTo>
                    <a:cubicBezTo>
                      <a:pt x="18236" y="712924"/>
                      <a:pt x="91974" y="425796"/>
                      <a:pt x="225421" y="155329"/>
                    </a:cubicBezTo>
                    <a:lnTo>
                      <a:pt x="312125" y="0"/>
                    </a:lnTo>
                    <a:lnTo>
                      <a:pt x="1092199" y="488591"/>
                    </a:lnTo>
                    <a:lnTo>
                      <a:pt x="1051424" y="561639"/>
                    </a:lnTo>
                    <a:cubicBezTo>
                      <a:pt x="973023" y="720539"/>
                      <a:pt x="929703" y="889227"/>
                      <a:pt x="919237" y="1058016"/>
                    </a:cubicBezTo>
                    <a:lnTo>
                      <a:pt x="919067" y="1070494"/>
                    </a:lnTo>
                    <a:lnTo>
                      <a:pt x="0" y="1031182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C979D439-92DD-4CA3-86A2-FAA3AC8B54C9}"/>
                  </a:ext>
                </a:extLst>
              </p:cNvPr>
              <p:cNvSpPr/>
              <p:nvPr/>
            </p:nvSpPr>
            <p:spPr>
              <a:xfrm rot="8876369">
                <a:off x="4118290" y="2334959"/>
                <a:ext cx="1165490" cy="1151510"/>
              </a:xfrm>
              <a:custGeom>
                <a:avLst/>
                <a:gdLst>
                  <a:gd name="connsiteX0" fmla="*/ 487460 w 1165490"/>
                  <a:gd name="connsiteY0" fmla="*/ 1151510 h 1151510"/>
                  <a:gd name="connsiteX1" fmla="*/ 0 w 1165490"/>
                  <a:gd name="connsiteY1" fmla="*/ 371755 h 1151510"/>
                  <a:gd name="connsiteX2" fmla="*/ 56200 w 1165490"/>
                  <a:gd name="connsiteY2" fmla="*/ 336339 h 1151510"/>
                  <a:gd name="connsiteX3" fmla="*/ 337489 w 1165490"/>
                  <a:gd name="connsiteY3" fmla="*/ 68569 h 1151510"/>
                  <a:gd name="connsiteX4" fmla="*/ 385415 w 1165490"/>
                  <a:gd name="connsiteY4" fmla="*/ 0 h 1151510"/>
                  <a:gd name="connsiteX5" fmla="*/ 1165490 w 1165490"/>
                  <a:gd name="connsiteY5" fmla="*/ 488591 h 1151510"/>
                  <a:gd name="connsiteX6" fmla="*/ 1063581 w 1165490"/>
                  <a:gd name="connsiteY6" fmla="*/ 634396 h 1151510"/>
                  <a:gd name="connsiteX7" fmla="*/ 584790 w 1165490"/>
                  <a:gd name="connsiteY7" fmla="*/ 1090175 h 1151510"/>
                  <a:gd name="connsiteX8" fmla="*/ 487460 w 1165490"/>
                  <a:gd name="connsiteY8" fmla="*/ 1151510 h 11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5490" h="1151510">
                    <a:moveTo>
                      <a:pt x="487460" y="1151510"/>
                    </a:moveTo>
                    <a:lnTo>
                      <a:pt x="0" y="371755"/>
                    </a:lnTo>
                    <a:lnTo>
                      <a:pt x="56200" y="336339"/>
                    </a:lnTo>
                    <a:cubicBezTo>
                      <a:pt x="160805" y="263059"/>
                      <a:pt x="255930" y="173489"/>
                      <a:pt x="337489" y="68569"/>
                    </a:cubicBezTo>
                    <a:lnTo>
                      <a:pt x="385415" y="0"/>
                    </a:lnTo>
                    <a:lnTo>
                      <a:pt x="1165490" y="488591"/>
                    </a:lnTo>
                    <a:lnTo>
                      <a:pt x="1063581" y="634396"/>
                    </a:lnTo>
                    <a:cubicBezTo>
                      <a:pt x="924757" y="812983"/>
                      <a:pt x="762842" y="965442"/>
                      <a:pt x="584790" y="1090175"/>
                    </a:cubicBezTo>
                    <a:lnTo>
                      <a:pt x="487460" y="1151510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AE7C5D47-1E5C-40E4-AF6B-693D78A33857}"/>
                  </a:ext>
                </a:extLst>
              </p:cNvPr>
              <p:cNvSpPr/>
              <p:nvPr/>
            </p:nvSpPr>
            <p:spPr>
              <a:xfrm rot="8876369">
                <a:off x="4170345" y="3138714"/>
                <a:ext cx="1119324" cy="1100515"/>
              </a:xfrm>
              <a:custGeom>
                <a:avLst/>
                <a:gdLst>
                  <a:gd name="connsiteX0" fmla="*/ 780074 w 1119324"/>
                  <a:gd name="connsiteY0" fmla="*/ 1100515 h 1100515"/>
                  <a:gd name="connsiteX1" fmla="*/ 0 w 1119324"/>
                  <a:gd name="connsiteY1" fmla="*/ 611924 h 1100515"/>
                  <a:gd name="connsiteX2" fmla="*/ 2734 w 1119324"/>
                  <a:gd name="connsiteY2" fmla="*/ 608012 h 1100515"/>
                  <a:gd name="connsiteX3" fmla="*/ 186289 w 1119324"/>
                  <a:gd name="connsiteY3" fmla="*/ 120870 h 1100515"/>
                  <a:gd name="connsiteX4" fmla="*/ 199717 w 1119324"/>
                  <a:gd name="connsiteY4" fmla="*/ 0 h 1100515"/>
                  <a:gd name="connsiteX5" fmla="*/ 1119324 w 1119324"/>
                  <a:gd name="connsiteY5" fmla="*/ 39334 h 1100515"/>
                  <a:gd name="connsiteX6" fmla="*/ 1119149 w 1119324"/>
                  <a:gd name="connsiteY6" fmla="*/ 52240 h 1100515"/>
                  <a:gd name="connsiteX7" fmla="*/ 782808 w 1119324"/>
                  <a:gd name="connsiteY7" fmla="*/ 1096603 h 1100515"/>
                  <a:gd name="connsiteX8" fmla="*/ 780074 w 1119324"/>
                  <a:gd name="connsiteY8" fmla="*/ 1100515 h 1100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9324" h="1100515">
                    <a:moveTo>
                      <a:pt x="780074" y="1100515"/>
                    </a:moveTo>
                    <a:lnTo>
                      <a:pt x="0" y="611924"/>
                    </a:lnTo>
                    <a:lnTo>
                      <a:pt x="2734" y="608012"/>
                    </a:lnTo>
                    <a:cubicBezTo>
                      <a:pt x="98813" y="454613"/>
                      <a:pt x="159257" y="289003"/>
                      <a:pt x="186289" y="120870"/>
                    </a:cubicBezTo>
                    <a:lnTo>
                      <a:pt x="199717" y="0"/>
                    </a:lnTo>
                    <a:lnTo>
                      <a:pt x="1119324" y="39334"/>
                    </a:lnTo>
                    <a:lnTo>
                      <a:pt x="1119149" y="52240"/>
                    </a:lnTo>
                    <a:cubicBezTo>
                      <a:pt x="1096880" y="411365"/>
                      <a:pt x="987233" y="770222"/>
                      <a:pt x="782808" y="1096603"/>
                    </a:cubicBezTo>
                    <a:lnTo>
                      <a:pt x="780074" y="1100515"/>
                    </a:lnTo>
                    <a:close/>
                  </a:path>
                </a:pathLst>
              </a:custGeom>
              <a:solidFill>
                <a:srgbClr val="F8DCE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F5320555-3A65-4A41-AD70-ACD1ABF066A9}"/>
                  </a:ext>
                </a:extLst>
              </p:cNvPr>
              <p:cNvSpPr/>
              <p:nvPr/>
            </p:nvSpPr>
            <p:spPr>
              <a:xfrm rot="8876369">
                <a:off x="7691974" y="3144531"/>
                <a:ext cx="1162852" cy="1175733"/>
              </a:xfrm>
              <a:custGeom>
                <a:avLst/>
                <a:gdLst>
                  <a:gd name="connsiteX0" fmla="*/ 780074 w 1162852"/>
                  <a:gd name="connsiteY0" fmla="*/ 1175733 h 1175733"/>
                  <a:gd name="connsiteX1" fmla="*/ 0 w 1162852"/>
                  <a:gd name="connsiteY1" fmla="*/ 687142 h 1175733"/>
                  <a:gd name="connsiteX2" fmla="*/ 2325 w 1162852"/>
                  <a:gd name="connsiteY2" fmla="*/ 682975 h 1175733"/>
                  <a:gd name="connsiteX3" fmla="*/ 611983 w 1162852"/>
                  <a:gd name="connsiteY3" fmla="*/ 39959 h 1175733"/>
                  <a:gd name="connsiteX4" fmla="*/ 675393 w 1162852"/>
                  <a:gd name="connsiteY4" fmla="*/ 0 h 1175733"/>
                  <a:gd name="connsiteX5" fmla="*/ 1162852 w 1162852"/>
                  <a:gd name="connsiteY5" fmla="*/ 779754 h 1175733"/>
                  <a:gd name="connsiteX6" fmla="*/ 1140574 w 1162852"/>
                  <a:gd name="connsiteY6" fmla="*/ 793794 h 1175733"/>
                  <a:gd name="connsiteX7" fmla="*/ 782400 w 1162852"/>
                  <a:gd name="connsiteY7" fmla="*/ 1171566 h 1175733"/>
                  <a:gd name="connsiteX8" fmla="*/ 780074 w 1162852"/>
                  <a:gd name="connsiteY8" fmla="*/ 1175733 h 1175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2852" h="1175733">
                    <a:moveTo>
                      <a:pt x="780074" y="1175733"/>
                    </a:moveTo>
                    <a:lnTo>
                      <a:pt x="0" y="687142"/>
                    </a:lnTo>
                    <a:lnTo>
                      <a:pt x="2325" y="682975"/>
                    </a:lnTo>
                    <a:cubicBezTo>
                      <a:pt x="165866" y="421870"/>
                      <a:pt x="374582" y="206269"/>
                      <a:pt x="611983" y="39959"/>
                    </a:cubicBezTo>
                    <a:lnTo>
                      <a:pt x="675393" y="0"/>
                    </a:lnTo>
                    <a:lnTo>
                      <a:pt x="1162852" y="779754"/>
                    </a:lnTo>
                    <a:lnTo>
                      <a:pt x="1140574" y="793794"/>
                    </a:lnTo>
                    <a:cubicBezTo>
                      <a:pt x="1001100" y="891501"/>
                      <a:pt x="878480" y="1018167"/>
                      <a:pt x="782400" y="1171566"/>
                    </a:cubicBezTo>
                    <a:lnTo>
                      <a:pt x="780074" y="1175733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211B1CEF-6E09-426C-953C-DEE083C4478A}"/>
                  </a:ext>
                </a:extLst>
              </p:cNvPr>
              <p:cNvSpPr/>
              <p:nvPr/>
            </p:nvSpPr>
            <p:spPr>
              <a:xfrm rot="8876369">
                <a:off x="7310493" y="3879655"/>
                <a:ext cx="1145750" cy="1118307"/>
              </a:xfrm>
              <a:custGeom>
                <a:avLst/>
                <a:gdLst>
                  <a:gd name="connsiteX0" fmla="*/ 487460 w 1145750"/>
                  <a:gd name="connsiteY0" fmla="*/ 1118307 h 1118307"/>
                  <a:gd name="connsiteX1" fmla="*/ 0 w 1145750"/>
                  <a:gd name="connsiteY1" fmla="*/ 338552 h 1118307"/>
                  <a:gd name="connsiteX2" fmla="*/ 81083 w 1145750"/>
                  <a:gd name="connsiteY2" fmla="*/ 287455 h 1118307"/>
                  <a:gd name="connsiteX3" fmla="*/ 1104191 w 1145750"/>
                  <a:gd name="connsiteY3" fmla="*/ 0 h 1118307"/>
                  <a:gd name="connsiteX4" fmla="*/ 1145750 w 1145750"/>
                  <a:gd name="connsiteY4" fmla="*/ 566 h 1118307"/>
                  <a:gd name="connsiteX5" fmla="*/ 1145750 w 1145750"/>
                  <a:gd name="connsiteY5" fmla="*/ 920170 h 1118307"/>
                  <a:gd name="connsiteX6" fmla="*/ 1135191 w 1145750"/>
                  <a:gd name="connsiteY6" fmla="*/ 920026 h 1118307"/>
                  <a:gd name="connsiteX7" fmla="*/ 534116 w 1145750"/>
                  <a:gd name="connsiteY7" fmla="*/ 1088906 h 1118307"/>
                  <a:gd name="connsiteX8" fmla="*/ 487460 w 1145750"/>
                  <a:gd name="connsiteY8" fmla="*/ 1118307 h 1118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45750" h="1118307">
                    <a:moveTo>
                      <a:pt x="487460" y="1118307"/>
                    </a:moveTo>
                    <a:lnTo>
                      <a:pt x="0" y="338552"/>
                    </a:lnTo>
                    <a:lnTo>
                      <a:pt x="81083" y="287455"/>
                    </a:lnTo>
                    <a:cubicBezTo>
                      <a:pt x="394475" y="110672"/>
                      <a:pt x="746247" y="12386"/>
                      <a:pt x="1104191" y="0"/>
                    </a:cubicBezTo>
                    <a:lnTo>
                      <a:pt x="1145750" y="566"/>
                    </a:lnTo>
                    <a:lnTo>
                      <a:pt x="1145750" y="920170"/>
                    </a:lnTo>
                    <a:lnTo>
                      <a:pt x="1135191" y="920026"/>
                    </a:lnTo>
                    <a:cubicBezTo>
                      <a:pt x="924899" y="927303"/>
                      <a:pt x="718233" y="985045"/>
                      <a:pt x="534116" y="1088906"/>
                    </a:cubicBezTo>
                    <a:lnTo>
                      <a:pt x="487460" y="1118307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A1B5CDDF-5DA7-4A1C-A8B9-E7FCA3A7308F}"/>
                  </a:ext>
                </a:extLst>
              </p:cNvPr>
              <p:cNvSpPr/>
              <p:nvPr/>
            </p:nvSpPr>
            <p:spPr>
              <a:xfrm rot="8876369">
                <a:off x="4750206" y="4100394"/>
                <a:ext cx="1047713" cy="1059716"/>
              </a:xfrm>
              <a:custGeom>
                <a:avLst/>
                <a:gdLst>
                  <a:gd name="connsiteX0" fmla="*/ 126510 w 1047713"/>
                  <a:gd name="connsiteY0" fmla="*/ 1020405 h 1059716"/>
                  <a:gd name="connsiteX1" fmla="*/ 127687 w 1047713"/>
                  <a:gd name="connsiteY1" fmla="*/ 934105 h 1059716"/>
                  <a:gd name="connsiteX2" fmla="*/ 15555 w 1047713"/>
                  <a:gd name="connsiteY2" fmla="*/ 446055 h 1059716"/>
                  <a:gd name="connsiteX3" fmla="*/ 0 w 1047713"/>
                  <a:gd name="connsiteY3" fmla="*/ 415075 h 1059716"/>
                  <a:gd name="connsiteX4" fmla="*/ 820508 w 1047713"/>
                  <a:gd name="connsiteY4" fmla="*/ 0 h 1059716"/>
                  <a:gd name="connsiteX5" fmla="*/ 856849 w 1047713"/>
                  <a:gd name="connsiteY5" fmla="*/ 72381 h 1059716"/>
                  <a:gd name="connsiteX6" fmla="*/ 1047713 w 1047713"/>
                  <a:gd name="connsiteY6" fmla="*/ 903106 h 1059716"/>
                  <a:gd name="connsiteX7" fmla="*/ 1045577 w 1047713"/>
                  <a:gd name="connsiteY7" fmla="*/ 1059716 h 1059716"/>
                  <a:gd name="connsiteX8" fmla="*/ 126510 w 1047713"/>
                  <a:gd name="connsiteY8" fmla="*/ 1020405 h 1059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47713" h="1059716">
                    <a:moveTo>
                      <a:pt x="126510" y="1020405"/>
                    </a:moveTo>
                    <a:lnTo>
                      <a:pt x="127687" y="934105"/>
                    </a:lnTo>
                    <a:cubicBezTo>
                      <a:pt x="121865" y="765872"/>
                      <a:pt x="83746" y="599959"/>
                      <a:pt x="15555" y="446055"/>
                    </a:cubicBezTo>
                    <a:lnTo>
                      <a:pt x="0" y="415075"/>
                    </a:lnTo>
                    <a:lnTo>
                      <a:pt x="820508" y="0"/>
                    </a:lnTo>
                    <a:lnTo>
                      <a:pt x="856849" y="72381"/>
                    </a:lnTo>
                    <a:cubicBezTo>
                      <a:pt x="972920" y="334345"/>
                      <a:pt x="1037804" y="616750"/>
                      <a:pt x="1047713" y="903106"/>
                    </a:cubicBezTo>
                    <a:lnTo>
                      <a:pt x="1045577" y="1059716"/>
                    </a:lnTo>
                    <a:lnTo>
                      <a:pt x="126510" y="1020405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1753AC84-4022-4B68-A7B5-5FF34D441A37}"/>
                  </a:ext>
                </a:extLst>
              </p:cNvPr>
              <p:cNvSpPr/>
              <p:nvPr/>
            </p:nvSpPr>
            <p:spPr>
              <a:xfrm rot="8876369">
                <a:off x="6293439" y="4522455"/>
                <a:ext cx="1155680" cy="1108864"/>
              </a:xfrm>
              <a:custGeom>
                <a:avLst/>
                <a:gdLst>
                  <a:gd name="connsiteX0" fmla="*/ 0 w 1155680"/>
                  <a:gd name="connsiteY0" fmla="*/ 919603 h 1108864"/>
                  <a:gd name="connsiteX1" fmla="*/ 0 w 1155680"/>
                  <a:gd name="connsiteY1" fmla="*/ 0 h 1108864"/>
                  <a:gd name="connsiteX2" fmla="*/ 127972 w 1155680"/>
                  <a:gd name="connsiteY2" fmla="*/ 1745 h 1108864"/>
                  <a:gd name="connsiteX3" fmla="*/ 972868 w 1155680"/>
                  <a:gd name="connsiteY3" fmla="*/ 226745 h 1108864"/>
                  <a:gd name="connsiteX4" fmla="*/ 1155680 w 1155680"/>
                  <a:gd name="connsiteY4" fmla="*/ 328789 h 1108864"/>
                  <a:gd name="connsiteX5" fmla="*/ 667089 w 1155680"/>
                  <a:gd name="connsiteY5" fmla="*/ 1108864 h 1108864"/>
                  <a:gd name="connsiteX6" fmla="*/ 566557 w 1155680"/>
                  <a:gd name="connsiteY6" fmla="*/ 1052747 h 1108864"/>
                  <a:gd name="connsiteX7" fmla="*/ 70181 w 1155680"/>
                  <a:gd name="connsiteY7" fmla="*/ 920560 h 1108864"/>
                  <a:gd name="connsiteX8" fmla="*/ 0 w 1155680"/>
                  <a:gd name="connsiteY8" fmla="*/ 919603 h 110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55680" h="1108864">
                    <a:moveTo>
                      <a:pt x="0" y="919603"/>
                    </a:moveTo>
                    <a:lnTo>
                      <a:pt x="0" y="0"/>
                    </a:lnTo>
                    <a:lnTo>
                      <a:pt x="127972" y="1745"/>
                    </a:lnTo>
                    <a:cubicBezTo>
                      <a:pt x="415273" y="19560"/>
                      <a:pt x="702401" y="93297"/>
                      <a:pt x="972868" y="226745"/>
                    </a:cubicBezTo>
                    <a:lnTo>
                      <a:pt x="1155680" y="328789"/>
                    </a:lnTo>
                    <a:lnTo>
                      <a:pt x="667089" y="1108864"/>
                    </a:lnTo>
                    <a:lnTo>
                      <a:pt x="566557" y="1052747"/>
                    </a:lnTo>
                    <a:cubicBezTo>
                      <a:pt x="407658" y="974347"/>
                      <a:pt x="238970" y="931026"/>
                      <a:pt x="70181" y="920560"/>
                    </a:cubicBezTo>
                    <a:lnTo>
                      <a:pt x="0" y="919603"/>
                    </a:lnTo>
                    <a:close/>
                  </a:path>
                </a:pathLst>
              </a:custGeom>
              <a:solidFill>
                <a:srgbClr val="AAD3D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endParaRPr>
              </a:p>
            </p:txBody>
          </p:sp>
        </p:grp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054C77E-4F68-41C3-A717-EBC62F4FDAEE}"/>
                </a:ext>
              </a:extLst>
            </p:cNvPr>
            <p:cNvSpPr/>
            <p:nvPr/>
          </p:nvSpPr>
          <p:spPr>
            <a:xfrm rot="8876369">
              <a:off x="5363733" y="4476045"/>
              <a:ext cx="1264887" cy="1271752"/>
            </a:xfrm>
            <a:custGeom>
              <a:avLst/>
              <a:gdLst>
                <a:gd name="connsiteX0" fmla="*/ 444379 w 1264887"/>
                <a:gd name="connsiteY0" fmla="*/ 1271752 h 1271752"/>
                <a:gd name="connsiteX1" fmla="*/ 423700 w 1264887"/>
                <a:gd name="connsiteY1" fmla="*/ 1230565 h 1271752"/>
                <a:gd name="connsiteX2" fmla="*/ 88115 w 1264887"/>
                <a:gd name="connsiteY2" fmla="*/ 841662 h 1271752"/>
                <a:gd name="connsiteX3" fmla="*/ 0 w 1264887"/>
                <a:gd name="connsiteY3" fmla="*/ 780075 h 1271752"/>
                <a:gd name="connsiteX4" fmla="*/ 488591 w 1264887"/>
                <a:gd name="connsiteY4" fmla="*/ 0 h 1271752"/>
                <a:gd name="connsiteX5" fmla="*/ 653941 w 1264887"/>
                <a:gd name="connsiteY5" fmla="*/ 115570 h 1271752"/>
                <a:gd name="connsiteX6" fmla="*/ 1225150 w 1264887"/>
                <a:gd name="connsiteY6" fmla="*/ 777533 h 1271752"/>
                <a:gd name="connsiteX7" fmla="*/ 1264887 w 1264887"/>
                <a:gd name="connsiteY7" fmla="*/ 856677 h 1271752"/>
                <a:gd name="connsiteX8" fmla="*/ 444379 w 1264887"/>
                <a:gd name="connsiteY8" fmla="*/ 1271752 h 1271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64887" h="1271752">
                  <a:moveTo>
                    <a:pt x="444379" y="1271752"/>
                  </a:moveTo>
                  <a:lnTo>
                    <a:pt x="423700" y="1230565"/>
                  </a:lnTo>
                  <a:cubicBezTo>
                    <a:pt x="340612" y="1083270"/>
                    <a:pt x="228008" y="950407"/>
                    <a:pt x="88115" y="841662"/>
                  </a:cubicBezTo>
                  <a:lnTo>
                    <a:pt x="0" y="780075"/>
                  </a:lnTo>
                  <a:lnTo>
                    <a:pt x="488591" y="0"/>
                  </a:lnTo>
                  <a:lnTo>
                    <a:pt x="653941" y="115570"/>
                  </a:lnTo>
                  <a:cubicBezTo>
                    <a:pt x="892058" y="300668"/>
                    <a:pt x="1083724" y="526818"/>
                    <a:pt x="1225150" y="777533"/>
                  </a:cubicBezTo>
                  <a:lnTo>
                    <a:pt x="1264887" y="856677"/>
                  </a:lnTo>
                  <a:lnTo>
                    <a:pt x="444379" y="1271752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36000" rIns="72000" bIns="36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/>
                <a:ea typeface="+mn-ea"/>
                <a:cs typeface="+mn-cs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7E7FE7C2-CE94-4C12-9373-B58615E197FE}"/>
                </a:ext>
              </a:extLst>
            </p:cNvPr>
            <p:cNvSpPr txBox="1"/>
            <p:nvPr/>
          </p:nvSpPr>
          <p:spPr>
            <a:xfrm>
              <a:off x="6660313" y="1501824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JAN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3E42FE2A-4A88-4B9C-811E-1E7BCB1AB95D}"/>
                </a:ext>
              </a:extLst>
            </p:cNvPr>
            <p:cNvSpPr txBox="1"/>
            <p:nvPr/>
          </p:nvSpPr>
          <p:spPr>
            <a:xfrm>
              <a:off x="7467222" y="2009465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FEB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A76FD261-A93C-4468-8734-70F15FE6CE58}"/>
                </a:ext>
              </a:extLst>
            </p:cNvPr>
            <p:cNvSpPr txBox="1"/>
            <p:nvPr/>
          </p:nvSpPr>
          <p:spPr>
            <a:xfrm>
              <a:off x="7910636" y="2761803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MAR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9A3F098E-7020-4E05-9129-BE9DEF69A514}"/>
                </a:ext>
              </a:extLst>
            </p:cNvPr>
            <p:cNvSpPr txBox="1"/>
            <p:nvPr/>
          </p:nvSpPr>
          <p:spPr>
            <a:xfrm>
              <a:off x="7961288" y="3592666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APR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95B4672F-DD68-421B-A9F0-ACA607ED9AF5}"/>
                </a:ext>
              </a:extLst>
            </p:cNvPr>
            <p:cNvSpPr txBox="1"/>
            <p:nvPr/>
          </p:nvSpPr>
          <p:spPr>
            <a:xfrm>
              <a:off x="7509133" y="4427263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MAY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92C397EC-C40D-4AF5-AFCC-0CE2B7E581F3}"/>
                </a:ext>
              </a:extLst>
            </p:cNvPr>
            <p:cNvSpPr txBox="1"/>
            <p:nvPr/>
          </p:nvSpPr>
          <p:spPr>
            <a:xfrm>
              <a:off x="6693997" y="4875978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JUN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EC5288A2-41B8-4EB9-9A76-588597C3F197}"/>
                </a:ext>
              </a:extLst>
            </p:cNvPr>
            <p:cNvSpPr txBox="1"/>
            <p:nvPr/>
          </p:nvSpPr>
          <p:spPr>
            <a:xfrm>
              <a:off x="5756758" y="4875978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JUL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5A56A565-CD06-4627-8513-5874B4197E6B}"/>
                </a:ext>
              </a:extLst>
            </p:cNvPr>
            <p:cNvSpPr txBox="1"/>
            <p:nvPr/>
          </p:nvSpPr>
          <p:spPr>
            <a:xfrm>
              <a:off x="4913507" y="4427263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AUG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D7A827B5-FDE8-4B94-9996-E17FF65710BC}"/>
                </a:ext>
              </a:extLst>
            </p:cNvPr>
            <p:cNvSpPr txBox="1"/>
            <p:nvPr/>
          </p:nvSpPr>
          <p:spPr>
            <a:xfrm>
              <a:off x="4487611" y="3648743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SEP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4F7D0C75-38FF-45DA-AB42-C55BB4719845}"/>
                </a:ext>
              </a:extLst>
            </p:cNvPr>
            <p:cNvSpPr txBox="1"/>
            <p:nvPr/>
          </p:nvSpPr>
          <p:spPr>
            <a:xfrm>
              <a:off x="4444183" y="2761803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OCT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842B78F6-1577-41DD-9DCC-9D1B8D3B7D9A}"/>
                </a:ext>
              </a:extLst>
            </p:cNvPr>
            <p:cNvSpPr txBox="1"/>
            <p:nvPr/>
          </p:nvSpPr>
          <p:spPr>
            <a:xfrm>
              <a:off x="4872636" y="2009465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NOV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13025A16-5142-4A9E-B978-3BC8FD2FB494}"/>
                </a:ext>
              </a:extLst>
            </p:cNvPr>
            <p:cNvSpPr txBox="1"/>
            <p:nvPr/>
          </p:nvSpPr>
          <p:spPr>
            <a:xfrm>
              <a:off x="5756758" y="1529465"/>
              <a:ext cx="513704" cy="240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DEC</a:t>
              </a:r>
            </a:p>
          </p:txBody>
        </p:sp>
      </p:grpSp>
      <p:sp>
        <p:nvSpPr>
          <p:cNvPr id="157" name="TextBox 156">
            <a:extLst>
              <a:ext uri="{FF2B5EF4-FFF2-40B4-BE49-F238E27FC236}">
                <a16:creationId xmlns:a16="http://schemas.microsoft.com/office/drawing/2014/main" id="{FB058E83-0AD1-4892-964E-9831466ED3AB}"/>
              </a:ext>
            </a:extLst>
          </p:cNvPr>
          <p:cNvSpPr txBox="1"/>
          <p:nvPr/>
        </p:nvSpPr>
        <p:spPr>
          <a:xfrm>
            <a:off x="1538792" y="4189420"/>
            <a:ext cx="2367310" cy="660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50" b="1" dirty="0">
                <a:solidFill>
                  <a:srgbClr val="002060"/>
                </a:solidFill>
              </a:rPr>
              <a:t>September</a:t>
            </a:r>
          </a:p>
          <a:p>
            <a:pPr>
              <a:lnSpc>
                <a:spcPct val="120000"/>
              </a:lnSpc>
            </a:pPr>
            <a:r>
              <a:rPr lang="en-GB" sz="1050" dirty="0">
                <a:solidFill>
                  <a:srgbClr val="002060"/>
                </a:solidFill>
              </a:rPr>
              <a:t>3 </a:t>
            </a:r>
            <a:r>
              <a:rPr lang="en-GB" sz="1050" dirty="0" err="1">
                <a:solidFill>
                  <a:srgbClr val="002060"/>
                </a:solidFill>
              </a:rPr>
              <a:t>träningar</a:t>
            </a:r>
            <a:r>
              <a:rPr lang="en-GB" sz="1050" dirty="0">
                <a:solidFill>
                  <a:srgbClr val="002060"/>
                </a:solidFill>
              </a:rPr>
              <a:t> i </a:t>
            </a:r>
            <a:r>
              <a:rPr lang="en-GB" sz="1050" dirty="0" err="1">
                <a:solidFill>
                  <a:srgbClr val="002060"/>
                </a:solidFill>
              </a:rPr>
              <a:t>veckan</a:t>
            </a:r>
            <a:endParaRPr lang="en-GB" sz="1050" dirty="0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2060"/>
                </a:solidFill>
              </a:rPr>
              <a:t>Arbetsvecka</a:t>
            </a:r>
            <a:r>
              <a:rPr lang="en-GB" sz="1050" dirty="0">
                <a:solidFill>
                  <a:srgbClr val="002060"/>
                </a:solidFill>
              </a:rPr>
              <a:t>: </a:t>
            </a:r>
            <a:r>
              <a:rPr lang="en-GB" sz="1050" dirty="0" err="1">
                <a:solidFill>
                  <a:srgbClr val="002060"/>
                </a:solidFill>
              </a:rPr>
              <a:t>Vecka</a:t>
            </a:r>
            <a:r>
              <a:rPr lang="en-GB" sz="1050" dirty="0">
                <a:solidFill>
                  <a:srgbClr val="002060"/>
                </a:solidFill>
              </a:rPr>
              <a:t> 39</a:t>
            </a:r>
          </a:p>
        </p:txBody>
      </p:sp>
      <p:sp>
        <p:nvSpPr>
          <p:cNvPr id="170" name="Freeform: Shape 169">
            <a:extLst>
              <a:ext uri="{FF2B5EF4-FFF2-40B4-BE49-F238E27FC236}">
                <a16:creationId xmlns:a16="http://schemas.microsoft.com/office/drawing/2014/main" id="{FD759B9D-7801-452F-A58B-17305FDEBFAB}"/>
              </a:ext>
            </a:extLst>
          </p:cNvPr>
          <p:cNvSpPr/>
          <p:nvPr/>
        </p:nvSpPr>
        <p:spPr>
          <a:xfrm rot="5400000">
            <a:off x="4009678" y="2614994"/>
            <a:ext cx="1157126" cy="1202438"/>
          </a:xfrm>
          <a:custGeom>
            <a:avLst/>
            <a:gdLst>
              <a:gd name="connsiteX0" fmla="*/ 0 w 1242978"/>
              <a:gd name="connsiteY0" fmla="*/ 0 h 1202438"/>
              <a:gd name="connsiteX1" fmla="*/ 335572 w 1242978"/>
              <a:gd name="connsiteY1" fmla="*/ 0 h 1202438"/>
              <a:gd name="connsiteX2" fmla="*/ 339070 w 1242978"/>
              <a:gd name="connsiteY2" fmla="*/ 69275 h 1202438"/>
              <a:gd name="connsiteX3" fmla="*/ 1222911 w 1242978"/>
              <a:gd name="connsiteY3" fmla="*/ 866866 h 1202438"/>
              <a:gd name="connsiteX4" fmla="*/ 1242978 w 1242978"/>
              <a:gd name="connsiteY4" fmla="*/ 865852 h 1202438"/>
              <a:gd name="connsiteX5" fmla="*/ 1242978 w 1242978"/>
              <a:gd name="connsiteY5" fmla="*/ 1201425 h 1202438"/>
              <a:gd name="connsiteX6" fmla="*/ 1222911 w 1242978"/>
              <a:gd name="connsiteY6" fmla="*/ 1202438 h 1202438"/>
              <a:gd name="connsiteX7" fmla="*/ 5230 w 1242978"/>
              <a:gd name="connsiteY7" fmla="*/ 103585 h 1202438"/>
              <a:gd name="connsiteX8" fmla="*/ 0 w 1242978"/>
              <a:gd name="connsiteY8" fmla="*/ 0 h 1202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42978" h="1202438">
                <a:moveTo>
                  <a:pt x="0" y="0"/>
                </a:moveTo>
                <a:lnTo>
                  <a:pt x="335572" y="0"/>
                </a:lnTo>
                <a:lnTo>
                  <a:pt x="339070" y="69275"/>
                </a:lnTo>
                <a:cubicBezTo>
                  <a:pt x="384567" y="517269"/>
                  <a:pt x="762913" y="866866"/>
                  <a:pt x="1222911" y="866866"/>
                </a:cubicBezTo>
                <a:lnTo>
                  <a:pt x="1242978" y="865852"/>
                </a:lnTo>
                <a:lnTo>
                  <a:pt x="1242978" y="1201425"/>
                </a:lnTo>
                <a:lnTo>
                  <a:pt x="1222911" y="1202438"/>
                </a:lnTo>
                <a:cubicBezTo>
                  <a:pt x="589164" y="1202438"/>
                  <a:pt x="67912" y="720794"/>
                  <a:pt x="5230" y="103585"/>
                </a:cubicBezTo>
                <a:lnTo>
                  <a:pt x="0" y="0"/>
                </a:lnTo>
                <a:close/>
              </a:path>
            </a:pathLst>
          </a:custGeom>
          <a:solidFill>
            <a:srgbClr val="CCC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171" name="Freeform: Shape 170">
            <a:extLst>
              <a:ext uri="{FF2B5EF4-FFF2-40B4-BE49-F238E27FC236}">
                <a16:creationId xmlns:a16="http://schemas.microsoft.com/office/drawing/2014/main" id="{8CFBD8DA-7092-4978-A923-05D19B0B951F}"/>
              </a:ext>
            </a:extLst>
          </p:cNvPr>
          <p:cNvSpPr/>
          <p:nvPr/>
        </p:nvSpPr>
        <p:spPr>
          <a:xfrm rot="5400000">
            <a:off x="5256603" y="2616358"/>
            <a:ext cx="1156994" cy="1199843"/>
          </a:xfrm>
          <a:custGeom>
            <a:avLst/>
            <a:gdLst>
              <a:gd name="connsiteX0" fmla="*/ 0 w 1242847"/>
              <a:gd name="connsiteY0" fmla="*/ 1199843 h 1199843"/>
              <a:gd name="connsiteX1" fmla="*/ 5099 w 1242847"/>
              <a:gd name="connsiteY1" fmla="*/ 1098853 h 1199843"/>
              <a:gd name="connsiteX2" fmla="*/ 1222780 w 1242847"/>
              <a:gd name="connsiteY2" fmla="*/ 0 h 1199843"/>
              <a:gd name="connsiteX3" fmla="*/ 1242847 w 1242847"/>
              <a:gd name="connsiteY3" fmla="*/ 1013 h 1199843"/>
              <a:gd name="connsiteX4" fmla="*/ 1242847 w 1242847"/>
              <a:gd name="connsiteY4" fmla="*/ 336585 h 1199843"/>
              <a:gd name="connsiteX5" fmla="*/ 1222780 w 1242847"/>
              <a:gd name="connsiteY5" fmla="*/ 335572 h 1199843"/>
              <a:gd name="connsiteX6" fmla="*/ 338939 w 1242847"/>
              <a:gd name="connsiteY6" fmla="*/ 1133163 h 1199843"/>
              <a:gd name="connsiteX7" fmla="*/ 335572 w 1242847"/>
              <a:gd name="connsiteY7" fmla="*/ 1199843 h 1199843"/>
              <a:gd name="connsiteX8" fmla="*/ 0 w 1242847"/>
              <a:gd name="connsiteY8" fmla="*/ 1199843 h 1199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42847" h="1199843">
                <a:moveTo>
                  <a:pt x="0" y="1199843"/>
                </a:moveTo>
                <a:lnTo>
                  <a:pt x="5099" y="1098853"/>
                </a:lnTo>
                <a:cubicBezTo>
                  <a:pt x="67781" y="481643"/>
                  <a:pt x="589033" y="0"/>
                  <a:pt x="1222780" y="0"/>
                </a:cubicBezTo>
                <a:lnTo>
                  <a:pt x="1242847" y="1013"/>
                </a:lnTo>
                <a:lnTo>
                  <a:pt x="1242847" y="336585"/>
                </a:lnTo>
                <a:lnTo>
                  <a:pt x="1222780" y="335572"/>
                </a:lnTo>
                <a:cubicBezTo>
                  <a:pt x="762782" y="335572"/>
                  <a:pt x="384436" y="685168"/>
                  <a:pt x="338939" y="1133163"/>
                </a:cubicBezTo>
                <a:lnTo>
                  <a:pt x="335572" y="1199843"/>
                </a:lnTo>
                <a:lnTo>
                  <a:pt x="0" y="1199843"/>
                </a:lnTo>
                <a:close/>
              </a:path>
            </a:pathLst>
          </a:cu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172" name="Freeform: Shape 171">
            <a:extLst>
              <a:ext uri="{FF2B5EF4-FFF2-40B4-BE49-F238E27FC236}">
                <a16:creationId xmlns:a16="http://schemas.microsoft.com/office/drawing/2014/main" id="{6D02816C-4386-4504-8A23-ED04B0607AF4}"/>
              </a:ext>
            </a:extLst>
          </p:cNvPr>
          <p:cNvSpPr/>
          <p:nvPr/>
        </p:nvSpPr>
        <p:spPr>
          <a:xfrm rot="5400000">
            <a:off x="3968479" y="3862492"/>
            <a:ext cx="1242846" cy="1199116"/>
          </a:xfrm>
          <a:custGeom>
            <a:avLst/>
            <a:gdLst>
              <a:gd name="connsiteX0" fmla="*/ 0 w 1157126"/>
              <a:gd name="connsiteY0" fmla="*/ 1199116 h 1199116"/>
              <a:gd name="connsiteX1" fmla="*/ 0 w 1157126"/>
              <a:gd name="connsiteY1" fmla="*/ 863544 h 1199116"/>
              <a:gd name="connsiteX2" fmla="*/ 25052 w 1157126"/>
              <a:gd name="connsiteY2" fmla="*/ 862279 h 1199116"/>
              <a:gd name="connsiteX3" fmla="*/ 818055 w 1157126"/>
              <a:gd name="connsiteY3" fmla="*/ 69275 h 1199116"/>
              <a:gd name="connsiteX4" fmla="*/ 821553 w 1157126"/>
              <a:gd name="connsiteY4" fmla="*/ 0 h 1199116"/>
              <a:gd name="connsiteX5" fmla="*/ 1157126 w 1157126"/>
              <a:gd name="connsiteY5" fmla="*/ 0 h 1199116"/>
              <a:gd name="connsiteX6" fmla="*/ 1151895 w 1157126"/>
              <a:gd name="connsiteY6" fmla="*/ 103585 h 1199116"/>
              <a:gd name="connsiteX7" fmla="*/ 59362 w 1157126"/>
              <a:gd name="connsiteY7" fmla="*/ 1196119 h 1199116"/>
              <a:gd name="connsiteX8" fmla="*/ 0 w 1157126"/>
              <a:gd name="connsiteY8" fmla="*/ 1199116 h 1199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7126" h="1199116">
                <a:moveTo>
                  <a:pt x="0" y="1199116"/>
                </a:moveTo>
                <a:lnTo>
                  <a:pt x="0" y="863544"/>
                </a:lnTo>
                <a:lnTo>
                  <a:pt x="25052" y="862279"/>
                </a:lnTo>
                <a:cubicBezTo>
                  <a:pt x="443180" y="819816"/>
                  <a:pt x="775592" y="487403"/>
                  <a:pt x="818055" y="69275"/>
                </a:cubicBezTo>
                <a:lnTo>
                  <a:pt x="821553" y="0"/>
                </a:lnTo>
                <a:lnTo>
                  <a:pt x="1157126" y="0"/>
                </a:lnTo>
                <a:lnTo>
                  <a:pt x="1151895" y="103585"/>
                </a:lnTo>
                <a:cubicBezTo>
                  <a:pt x="1093393" y="679647"/>
                  <a:pt x="635424" y="1137616"/>
                  <a:pt x="59362" y="1196119"/>
                </a:cubicBezTo>
                <a:lnTo>
                  <a:pt x="0" y="1199116"/>
                </a:lnTo>
                <a:close/>
              </a:path>
            </a:pathLst>
          </a:custGeom>
          <a:solidFill>
            <a:srgbClr val="F8DCE5"/>
          </a:solidFill>
          <a:ln>
            <a:solidFill>
              <a:srgbClr val="FCE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173" name="Freeform: Shape 172">
            <a:extLst>
              <a:ext uri="{FF2B5EF4-FFF2-40B4-BE49-F238E27FC236}">
                <a16:creationId xmlns:a16="http://schemas.microsoft.com/office/drawing/2014/main" id="{B17C2B18-B660-4634-B6BD-F1518DC0E0B0}"/>
              </a:ext>
            </a:extLst>
          </p:cNvPr>
          <p:cNvSpPr/>
          <p:nvPr/>
        </p:nvSpPr>
        <p:spPr>
          <a:xfrm rot="5400000">
            <a:off x="5212017" y="3863658"/>
            <a:ext cx="1242845" cy="1196522"/>
          </a:xfrm>
          <a:custGeom>
            <a:avLst/>
            <a:gdLst>
              <a:gd name="connsiteX0" fmla="*/ 0 w 1156994"/>
              <a:gd name="connsiteY0" fmla="*/ 335573 h 1196522"/>
              <a:gd name="connsiteX1" fmla="*/ 0 w 1156994"/>
              <a:gd name="connsiteY1" fmla="*/ 0 h 1196522"/>
              <a:gd name="connsiteX2" fmla="*/ 59362 w 1156994"/>
              <a:gd name="connsiteY2" fmla="*/ 2998 h 1196522"/>
              <a:gd name="connsiteX3" fmla="*/ 1151895 w 1156994"/>
              <a:gd name="connsiteY3" fmla="*/ 1095532 h 1196522"/>
              <a:gd name="connsiteX4" fmla="*/ 1156994 w 1156994"/>
              <a:gd name="connsiteY4" fmla="*/ 1196522 h 1196522"/>
              <a:gd name="connsiteX5" fmla="*/ 821422 w 1156994"/>
              <a:gd name="connsiteY5" fmla="*/ 1196522 h 1196522"/>
              <a:gd name="connsiteX6" fmla="*/ 818055 w 1156994"/>
              <a:gd name="connsiteY6" fmla="*/ 1129842 h 1196522"/>
              <a:gd name="connsiteX7" fmla="*/ 25052 w 1156994"/>
              <a:gd name="connsiteY7" fmla="*/ 336838 h 1196522"/>
              <a:gd name="connsiteX8" fmla="*/ 0 w 1156994"/>
              <a:gd name="connsiteY8" fmla="*/ 335573 h 1196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6994" h="1196522">
                <a:moveTo>
                  <a:pt x="0" y="335573"/>
                </a:moveTo>
                <a:lnTo>
                  <a:pt x="0" y="0"/>
                </a:lnTo>
                <a:lnTo>
                  <a:pt x="59362" y="2998"/>
                </a:lnTo>
                <a:cubicBezTo>
                  <a:pt x="635424" y="61500"/>
                  <a:pt x="1093393" y="519469"/>
                  <a:pt x="1151895" y="1095532"/>
                </a:cubicBezTo>
                <a:lnTo>
                  <a:pt x="1156994" y="1196522"/>
                </a:lnTo>
                <a:lnTo>
                  <a:pt x="821422" y="1196522"/>
                </a:lnTo>
                <a:lnTo>
                  <a:pt x="818055" y="1129842"/>
                </a:lnTo>
                <a:cubicBezTo>
                  <a:pt x="775592" y="711713"/>
                  <a:pt x="443180" y="379301"/>
                  <a:pt x="25052" y="336838"/>
                </a:cubicBezTo>
                <a:lnTo>
                  <a:pt x="0" y="335573"/>
                </a:lnTo>
                <a:close/>
              </a:path>
            </a:pathLst>
          </a:custGeom>
          <a:solidFill>
            <a:srgbClr val="D4E9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558FF11A-33AA-4F2F-9E6E-A2BCB9EFAE03}"/>
              </a:ext>
            </a:extLst>
          </p:cNvPr>
          <p:cNvSpPr txBox="1"/>
          <p:nvPr/>
        </p:nvSpPr>
        <p:spPr>
          <a:xfrm rot="2944948">
            <a:off x="5822467" y="3057816"/>
            <a:ext cx="362569" cy="2058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Q1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BA6C968F-4A48-4850-872B-07298E398FB2}"/>
              </a:ext>
            </a:extLst>
          </p:cNvPr>
          <p:cNvSpPr txBox="1"/>
          <p:nvPr/>
        </p:nvSpPr>
        <p:spPr>
          <a:xfrm rot="18996763">
            <a:off x="5805669" y="4443915"/>
            <a:ext cx="362569" cy="2058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Q2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6E0AA8F5-30A3-497A-9CC6-D9BBF45B26F1}"/>
              </a:ext>
            </a:extLst>
          </p:cNvPr>
          <p:cNvSpPr txBox="1"/>
          <p:nvPr/>
        </p:nvSpPr>
        <p:spPr>
          <a:xfrm rot="2970482">
            <a:off x="4235461" y="4439760"/>
            <a:ext cx="362569" cy="2058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Q3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C6AC96E0-2244-4123-B83E-44CF3FE053BA}"/>
              </a:ext>
            </a:extLst>
          </p:cNvPr>
          <p:cNvSpPr txBox="1"/>
          <p:nvPr/>
        </p:nvSpPr>
        <p:spPr>
          <a:xfrm rot="18795592">
            <a:off x="4262278" y="3055972"/>
            <a:ext cx="362569" cy="2058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Q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9528D65-86EB-431C-A502-45633A8B448A}"/>
              </a:ext>
            </a:extLst>
          </p:cNvPr>
          <p:cNvSpPr txBox="1"/>
          <p:nvPr/>
        </p:nvSpPr>
        <p:spPr>
          <a:xfrm>
            <a:off x="1734258" y="1972588"/>
            <a:ext cx="1919776" cy="3740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50" b="1" dirty="0">
                <a:solidFill>
                  <a:srgbClr val="001965"/>
                </a:solidFill>
              </a:rPr>
              <a:t>November</a:t>
            </a: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1965"/>
                </a:solidFill>
              </a:rPr>
              <a:t>Försäljning</a:t>
            </a:r>
            <a:r>
              <a:rPr lang="en-GB" sz="1050" dirty="0">
                <a:solidFill>
                  <a:srgbClr val="001965"/>
                </a:solidFill>
              </a:rPr>
              <a:t> </a:t>
            </a:r>
            <a:r>
              <a:rPr lang="en-GB" sz="1050" dirty="0" err="1">
                <a:solidFill>
                  <a:srgbClr val="001965"/>
                </a:solidFill>
              </a:rPr>
              <a:t>av</a:t>
            </a:r>
            <a:r>
              <a:rPr lang="en-GB" sz="1050" dirty="0">
                <a:solidFill>
                  <a:srgbClr val="001965"/>
                </a:solidFill>
              </a:rPr>
              <a:t> </a:t>
            </a:r>
            <a:r>
              <a:rPr lang="en-GB" sz="1050" dirty="0" err="1">
                <a:solidFill>
                  <a:srgbClr val="001965"/>
                </a:solidFill>
              </a:rPr>
              <a:t>bingolotter</a:t>
            </a:r>
            <a:endParaRPr kumimoji="0" lang="da-DK" sz="1050" i="1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29D65D53-D6D6-45A7-8A47-B0665BC0C32B}"/>
              </a:ext>
            </a:extLst>
          </p:cNvPr>
          <p:cNvSpPr txBox="1"/>
          <p:nvPr/>
        </p:nvSpPr>
        <p:spPr>
          <a:xfrm>
            <a:off x="7562129" y="2877655"/>
            <a:ext cx="3860477" cy="10025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Mars</a:t>
            </a:r>
          </a:p>
          <a:p>
            <a:pPr>
              <a:lnSpc>
                <a:spcPct val="120000"/>
              </a:lnSpc>
            </a:pPr>
            <a:r>
              <a:rPr lang="en-GB" sz="1000" dirty="0">
                <a:solidFill>
                  <a:srgbClr val="001965"/>
                </a:solidFill>
              </a:rPr>
              <a:t>2 </a:t>
            </a:r>
            <a:r>
              <a:rPr lang="en-GB" sz="1000" dirty="0" err="1">
                <a:solidFill>
                  <a:srgbClr val="001965"/>
                </a:solidFill>
              </a:rPr>
              <a:t>träningar</a:t>
            </a:r>
            <a:r>
              <a:rPr lang="en-GB" sz="1000" dirty="0">
                <a:solidFill>
                  <a:srgbClr val="001965"/>
                </a:solidFill>
              </a:rPr>
              <a:t> i </a:t>
            </a:r>
            <a:r>
              <a:rPr lang="en-GB" sz="1000" dirty="0" err="1">
                <a:solidFill>
                  <a:srgbClr val="001965"/>
                </a:solidFill>
              </a:rPr>
              <a:t>veckan</a:t>
            </a:r>
            <a:endParaRPr lang="en-GB" sz="100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23 Mars </a:t>
            </a:r>
            <a:r>
              <a:rPr lang="en-GB" sz="1000" dirty="0">
                <a:solidFill>
                  <a:srgbClr val="001965"/>
                </a:solidFill>
              </a:rPr>
              <a:t>- </a:t>
            </a:r>
            <a:r>
              <a:rPr lang="en-GB" sz="1000" dirty="0" err="1">
                <a:solidFill>
                  <a:srgbClr val="001965"/>
                </a:solidFill>
              </a:rPr>
              <a:t>Träningsmatcher</a:t>
            </a:r>
            <a:endParaRPr lang="en-GB" sz="1000" b="1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24 Mars</a:t>
            </a:r>
            <a:r>
              <a:rPr lang="en-GB" sz="1000" dirty="0">
                <a:solidFill>
                  <a:srgbClr val="001965"/>
                </a:solidFill>
              </a:rPr>
              <a:t> – </a:t>
            </a:r>
            <a:r>
              <a:rPr lang="en-GB" sz="1000" dirty="0" err="1">
                <a:solidFill>
                  <a:srgbClr val="001965"/>
                </a:solidFill>
              </a:rPr>
              <a:t>Föräldramöte</a:t>
            </a:r>
            <a:endParaRPr lang="en-GB" sz="100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29 Mars </a:t>
            </a:r>
            <a:r>
              <a:rPr lang="en-GB" sz="1000" dirty="0">
                <a:solidFill>
                  <a:srgbClr val="001965"/>
                </a:solidFill>
              </a:rPr>
              <a:t>– </a:t>
            </a:r>
            <a:r>
              <a:rPr lang="en-GB" sz="1000" dirty="0" err="1">
                <a:solidFill>
                  <a:srgbClr val="001965"/>
                </a:solidFill>
              </a:rPr>
              <a:t>Träningsmatcher</a:t>
            </a:r>
            <a:endParaRPr lang="en-GB" sz="1000" dirty="0">
              <a:solidFill>
                <a:srgbClr val="001965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7283342-13E9-7B87-3DF5-9E36B66CD4FC}"/>
              </a:ext>
            </a:extLst>
          </p:cNvPr>
          <p:cNvSpPr txBox="1"/>
          <p:nvPr/>
        </p:nvSpPr>
        <p:spPr>
          <a:xfrm>
            <a:off x="7497201" y="4090870"/>
            <a:ext cx="3993549" cy="6332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April</a:t>
            </a:r>
          </a:p>
          <a:p>
            <a:pPr>
              <a:lnSpc>
                <a:spcPct val="120000"/>
              </a:lnSpc>
            </a:pPr>
            <a:r>
              <a:rPr lang="en-GB" sz="1000" dirty="0">
                <a:solidFill>
                  <a:srgbClr val="001965"/>
                </a:solidFill>
              </a:rPr>
              <a:t>2 </a:t>
            </a:r>
            <a:r>
              <a:rPr lang="en-GB" sz="1000" dirty="0" err="1">
                <a:solidFill>
                  <a:srgbClr val="001965"/>
                </a:solidFill>
              </a:rPr>
              <a:t>träningar</a:t>
            </a:r>
            <a:r>
              <a:rPr lang="en-GB" sz="1000" dirty="0">
                <a:solidFill>
                  <a:srgbClr val="001965"/>
                </a:solidFill>
              </a:rPr>
              <a:t> i </a:t>
            </a:r>
            <a:r>
              <a:rPr lang="en-GB" sz="1000" dirty="0" err="1">
                <a:solidFill>
                  <a:srgbClr val="001965"/>
                </a:solidFill>
              </a:rPr>
              <a:t>veckan</a:t>
            </a:r>
            <a:endParaRPr lang="en-GB" sz="100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12-13 April </a:t>
            </a:r>
            <a:r>
              <a:rPr lang="en-GB" sz="1000" dirty="0">
                <a:solidFill>
                  <a:srgbClr val="001965"/>
                </a:solidFill>
              </a:rPr>
              <a:t>– </a:t>
            </a:r>
            <a:r>
              <a:rPr lang="en-GB" sz="1000" dirty="0" err="1">
                <a:solidFill>
                  <a:srgbClr val="001965"/>
                </a:solidFill>
              </a:rPr>
              <a:t>Lassabollen</a:t>
            </a:r>
            <a:r>
              <a:rPr lang="en-GB" sz="1000" dirty="0">
                <a:solidFill>
                  <a:srgbClr val="001965"/>
                </a:solidFill>
              </a:rPr>
              <a:t> </a:t>
            </a:r>
            <a:r>
              <a:rPr lang="en-GB" sz="1000" dirty="0" err="1">
                <a:solidFill>
                  <a:srgbClr val="001965"/>
                </a:solidFill>
              </a:rPr>
              <a:t>Ulricehamn</a:t>
            </a:r>
            <a:r>
              <a:rPr lang="en-GB" sz="1000" dirty="0">
                <a:solidFill>
                  <a:srgbClr val="001965"/>
                </a:solidFill>
              </a:rPr>
              <a:t> – </a:t>
            </a:r>
            <a:r>
              <a:rPr lang="en-GB" sz="1000" dirty="0" err="1">
                <a:solidFill>
                  <a:srgbClr val="001965"/>
                </a:solidFill>
              </a:rPr>
              <a:t>Kvällsaktivitet</a:t>
            </a:r>
            <a:r>
              <a:rPr lang="en-GB" sz="1000" dirty="0">
                <a:solidFill>
                  <a:srgbClr val="001965"/>
                </a:solidFill>
              </a:rPr>
              <a:t> </a:t>
            </a:r>
            <a:r>
              <a:rPr lang="en-GB" sz="1000" dirty="0" err="1">
                <a:solidFill>
                  <a:srgbClr val="001965"/>
                </a:solidFill>
              </a:rPr>
              <a:t>slätten</a:t>
            </a:r>
            <a:endParaRPr lang="en-GB" sz="1000" dirty="0">
              <a:solidFill>
                <a:srgbClr val="001965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C78ADBC-155E-6BCB-111A-0E63F9E29D68}"/>
              </a:ext>
            </a:extLst>
          </p:cNvPr>
          <p:cNvSpPr txBox="1"/>
          <p:nvPr/>
        </p:nvSpPr>
        <p:spPr>
          <a:xfrm>
            <a:off x="7130086" y="5171884"/>
            <a:ext cx="3695473" cy="660309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50" b="1" dirty="0">
                <a:solidFill>
                  <a:srgbClr val="002060"/>
                </a:solidFill>
              </a:rPr>
              <a:t>Maj</a:t>
            </a:r>
            <a:r>
              <a:rPr lang="en-GB" sz="1050" dirty="0">
                <a:solidFill>
                  <a:srgbClr val="002060"/>
                </a:solidFill>
              </a:rPr>
              <a:t> </a:t>
            </a: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2060"/>
                </a:solidFill>
              </a:rPr>
              <a:t>Serien</a:t>
            </a:r>
            <a:r>
              <a:rPr lang="en-GB" sz="1050" dirty="0">
                <a:solidFill>
                  <a:srgbClr val="002060"/>
                </a:solidFill>
              </a:rPr>
              <a:t> </a:t>
            </a:r>
            <a:r>
              <a:rPr lang="en-GB" sz="1050" dirty="0" err="1">
                <a:solidFill>
                  <a:srgbClr val="002060"/>
                </a:solidFill>
              </a:rPr>
              <a:t>drar</a:t>
            </a:r>
            <a:r>
              <a:rPr lang="en-GB" sz="1050" dirty="0">
                <a:solidFill>
                  <a:srgbClr val="002060"/>
                </a:solidFill>
              </a:rPr>
              <a:t> </a:t>
            </a:r>
            <a:r>
              <a:rPr lang="en-GB" sz="1050" dirty="0" err="1">
                <a:solidFill>
                  <a:srgbClr val="002060"/>
                </a:solidFill>
              </a:rPr>
              <a:t>igång</a:t>
            </a:r>
            <a:endParaRPr lang="en-GB" sz="1050" dirty="0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50" dirty="0">
                <a:solidFill>
                  <a:srgbClr val="002060"/>
                </a:solidFill>
              </a:rPr>
              <a:t>3 </a:t>
            </a:r>
            <a:r>
              <a:rPr lang="en-GB" sz="1050" dirty="0" err="1">
                <a:solidFill>
                  <a:srgbClr val="002060"/>
                </a:solidFill>
              </a:rPr>
              <a:t>träningar</a:t>
            </a:r>
            <a:r>
              <a:rPr lang="en-GB" sz="1050" dirty="0">
                <a:solidFill>
                  <a:srgbClr val="002060"/>
                </a:solidFill>
              </a:rPr>
              <a:t> i </a:t>
            </a:r>
            <a:r>
              <a:rPr lang="en-GB" sz="1050" dirty="0" err="1">
                <a:solidFill>
                  <a:srgbClr val="002060"/>
                </a:solidFill>
              </a:rPr>
              <a:t>veckan</a:t>
            </a:r>
            <a:endParaRPr lang="en-GB" sz="1050" dirty="0">
              <a:solidFill>
                <a:srgbClr val="002060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B35A078-638A-C165-E830-191C6B1660BD}"/>
              </a:ext>
            </a:extLst>
          </p:cNvPr>
          <p:cNvSpPr txBox="1"/>
          <p:nvPr/>
        </p:nvSpPr>
        <p:spPr>
          <a:xfrm>
            <a:off x="1652341" y="2785843"/>
            <a:ext cx="1617236" cy="854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50" b="1" dirty="0">
                <a:solidFill>
                  <a:srgbClr val="001965"/>
                </a:solidFill>
              </a:rPr>
              <a:t>Oktober</a:t>
            </a:r>
            <a:endParaRPr lang="en-GB" sz="105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1965"/>
                </a:solidFill>
              </a:rPr>
              <a:t>KickOnCup</a:t>
            </a:r>
            <a:r>
              <a:rPr lang="en-GB" sz="1050" dirty="0">
                <a:solidFill>
                  <a:srgbClr val="001965"/>
                </a:solidFill>
              </a:rPr>
              <a:t> 4-5</a:t>
            </a: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1965"/>
                </a:solidFill>
              </a:rPr>
              <a:t>Avslutning</a:t>
            </a:r>
            <a:endParaRPr lang="en-GB" sz="105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1965"/>
                </a:solidFill>
              </a:rPr>
              <a:t>Vinteruppehåll</a:t>
            </a:r>
            <a:endParaRPr lang="en-GB" sz="1050" dirty="0">
              <a:solidFill>
                <a:srgbClr val="001965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C31D910-F173-6F4B-005C-11AC3A479FC5}"/>
              </a:ext>
            </a:extLst>
          </p:cNvPr>
          <p:cNvSpPr txBox="1"/>
          <p:nvPr/>
        </p:nvSpPr>
        <p:spPr>
          <a:xfrm>
            <a:off x="1785695" y="5197486"/>
            <a:ext cx="2556204" cy="660309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50" b="1" dirty="0">
                <a:solidFill>
                  <a:srgbClr val="002060"/>
                </a:solidFill>
              </a:rPr>
              <a:t>Augusti</a:t>
            </a: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2060"/>
                </a:solidFill>
              </a:rPr>
              <a:t>Träningen</a:t>
            </a:r>
            <a:r>
              <a:rPr lang="en-GB" sz="1050" dirty="0">
                <a:solidFill>
                  <a:srgbClr val="002060"/>
                </a:solidFill>
              </a:rPr>
              <a:t> </a:t>
            </a:r>
            <a:r>
              <a:rPr lang="en-GB" sz="1050" dirty="0" err="1">
                <a:solidFill>
                  <a:srgbClr val="002060"/>
                </a:solidFill>
              </a:rPr>
              <a:t>drar</a:t>
            </a:r>
            <a:r>
              <a:rPr lang="en-GB" sz="1050" dirty="0">
                <a:solidFill>
                  <a:srgbClr val="002060"/>
                </a:solidFill>
              </a:rPr>
              <a:t> </a:t>
            </a:r>
            <a:r>
              <a:rPr lang="en-GB" sz="1050" dirty="0" err="1">
                <a:solidFill>
                  <a:srgbClr val="002060"/>
                </a:solidFill>
              </a:rPr>
              <a:t>igåg</a:t>
            </a:r>
            <a:r>
              <a:rPr lang="en-GB" sz="1050" dirty="0">
                <a:solidFill>
                  <a:srgbClr val="002060"/>
                </a:solidFill>
              </a:rPr>
              <a:t> 5/8</a:t>
            </a:r>
          </a:p>
          <a:p>
            <a:pPr>
              <a:lnSpc>
                <a:spcPct val="120000"/>
              </a:lnSpc>
            </a:pPr>
            <a:r>
              <a:rPr lang="en-GB" sz="1050" dirty="0">
                <a:solidFill>
                  <a:srgbClr val="002060"/>
                </a:solidFill>
              </a:rPr>
              <a:t>3 </a:t>
            </a:r>
            <a:r>
              <a:rPr lang="en-GB" sz="1050" dirty="0" err="1">
                <a:solidFill>
                  <a:srgbClr val="002060"/>
                </a:solidFill>
              </a:rPr>
              <a:t>träningar</a:t>
            </a:r>
            <a:r>
              <a:rPr lang="en-GB" sz="1050" dirty="0">
                <a:solidFill>
                  <a:srgbClr val="002060"/>
                </a:solidFill>
              </a:rPr>
              <a:t> i </a:t>
            </a:r>
            <a:r>
              <a:rPr lang="en-GB" sz="1050" dirty="0" err="1">
                <a:solidFill>
                  <a:srgbClr val="002060"/>
                </a:solidFill>
              </a:rPr>
              <a:t>veckan</a:t>
            </a:r>
            <a:r>
              <a:rPr lang="en-GB" sz="1050" dirty="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6FCDC28-41FE-B039-80FF-7771794CA7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6318"/>
            <a:ext cx="10896000" cy="958731"/>
          </a:xfrm>
        </p:spPr>
        <p:txBody>
          <a:bodyPr vert="horz"/>
          <a:lstStyle/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400" b="1" cap="all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Årshjul p12</a:t>
            </a:r>
            <a:br>
              <a:rPr lang="da-DK" sz="2400" b="1" cap="all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</a:br>
            <a:endParaRPr lang="en-GB" sz="2400" b="1" cap="all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A66813-CF83-8A03-7730-6383B98CB234}"/>
              </a:ext>
            </a:extLst>
          </p:cNvPr>
          <p:cNvSpPr txBox="1"/>
          <p:nvPr/>
        </p:nvSpPr>
        <p:spPr>
          <a:xfrm>
            <a:off x="5728203" y="6016026"/>
            <a:ext cx="2330156" cy="854208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50" b="1" dirty="0">
                <a:solidFill>
                  <a:srgbClr val="002060"/>
                </a:solidFill>
              </a:rPr>
              <a:t>Juni</a:t>
            </a:r>
            <a:endParaRPr lang="en-GB" sz="1050" dirty="0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2060"/>
                </a:solidFill>
              </a:rPr>
              <a:t>Vecka</a:t>
            </a:r>
            <a:r>
              <a:rPr lang="en-GB" sz="1050" b="1" dirty="0">
                <a:solidFill>
                  <a:srgbClr val="002060"/>
                </a:solidFill>
              </a:rPr>
              <a:t> </a:t>
            </a:r>
            <a:r>
              <a:rPr lang="en-GB" sz="1050" dirty="0">
                <a:solidFill>
                  <a:srgbClr val="002060"/>
                </a:solidFill>
              </a:rPr>
              <a:t>25+26 </a:t>
            </a:r>
            <a:r>
              <a:rPr lang="en-GB" sz="1050" dirty="0" err="1">
                <a:solidFill>
                  <a:srgbClr val="002060"/>
                </a:solidFill>
              </a:rPr>
              <a:t>fotbollsskolor</a:t>
            </a:r>
            <a:endParaRPr lang="en-GB" sz="1050" dirty="0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2060"/>
                </a:solidFill>
              </a:rPr>
              <a:t>HaboCupen</a:t>
            </a:r>
            <a:r>
              <a:rPr lang="en-GB" sz="1050" dirty="0">
                <a:solidFill>
                  <a:srgbClr val="002060"/>
                </a:solidFill>
              </a:rPr>
              <a:t> 28-29</a:t>
            </a:r>
          </a:p>
          <a:p>
            <a:pPr>
              <a:lnSpc>
                <a:spcPct val="120000"/>
              </a:lnSpc>
            </a:pPr>
            <a:r>
              <a:rPr lang="en-GB" sz="1050" dirty="0">
                <a:solidFill>
                  <a:srgbClr val="002060"/>
                </a:solidFill>
              </a:rPr>
              <a:t>3 </a:t>
            </a:r>
            <a:r>
              <a:rPr lang="en-GB" sz="1050" dirty="0" err="1">
                <a:solidFill>
                  <a:srgbClr val="002060"/>
                </a:solidFill>
              </a:rPr>
              <a:t>träningar</a:t>
            </a:r>
            <a:r>
              <a:rPr lang="en-GB" sz="1050" dirty="0">
                <a:solidFill>
                  <a:srgbClr val="002060"/>
                </a:solidFill>
              </a:rPr>
              <a:t> i </a:t>
            </a:r>
            <a:r>
              <a:rPr lang="en-GB" sz="1050" dirty="0" err="1">
                <a:solidFill>
                  <a:srgbClr val="002060"/>
                </a:solidFill>
              </a:rPr>
              <a:t>veckan</a:t>
            </a:r>
            <a:endParaRPr lang="en-GB" sz="1050" dirty="0">
              <a:solidFill>
                <a:srgbClr val="00206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37749A-E56F-9147-32C6-13282E004315}"/>
              </a:ext>
            </a:extLst>
          </p:cNvPr>
          <p:cNvSpPr txBox="1"/>
          <p:nvPr/>
        </p:nvSpPr>
        <p:spPr>
          <a:xfrm>
            <a:off x="3894307" y="6016026"/>
            <a:ext cx="1496923" cy="660309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50" b="1" dirty="0">
                <a:solidFill>
                  <a:srgbClr val="002060"/>
                </a:solidFill>
              </a:rPr>
              <a:t>Juli</a:t>
            </a:r>
          </a:p>
          <a:p>
            <a:pPr>
              <a:lnSpc>
                <a:spcPct val="120000"/>
              </a:lnSpc>
            </a:pPr>
            <a:r>
              <a:rPr lang="en-GB" sz="1050" dirty="0" err="1">
                <a:solidFill>
                  <a:srgbClr val="002060"/>
                </a:solidFill>
              </a:rPr>
              <a:t>Spontana</a:t>
            </a:r>
            <a:r>
              <a:rPr lang="en-GB" sz="1050" dirty="0">
                <a:solidFill>
                  <a:srgbClr val="002060"/>
                </a:solidFill>
              </a:rPr>
              <a:t> </a:t>
            </a:r>
            <a:r>
              <a:rPr lang="en-GB" sz="1050" dirty="0" err="1">
                <a:solidFill>
                  <a:srgbClr val="002060"/>
                </a:solidFill>
              </a:rPr>
              <a:t>träningar</a:t>
            </a:r>
            <a:endParaRPr lang="en-GB" sz="1050" dirty="0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50" dirty="0">
                <a:solidFill>
                  <a:srgbClr val="002060"/>
                </a:solidFill>
              </a:rPr>
              <a:t>LAXA-</a:t>
            </a:r>
            <a:r>
              <a:rPr lang="en-GB" sz="1050" dirty="0" err="1">
                <a:solidFill>
                  <a:srgbClr val="002060"/>
                </a:solidFill>
              </a:rPr>
              <a:t>CUPen</a:t>
            </a:r>
            <a:r>
              <a:rPr lang="en-GB" sz="1050" dirty="0">
                <a:solidFill>
                  <a:srgbClr val="002060"/>
                </a:solidFill>
              </a:rPr>
              <a:t> 24-27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8EC797-6AEF-3019-614F-705D31CDB98D}"/>
              </a:ext>
            </a:extLst>
          </p:cNvPr>
          <p:cNvSpPr txBox="1"/>
          <p:nvPr/>
        </p:nvSpPr>
        <p:spPr>
          <a:xfrm>
            <a:off x="3256794" y="1084415"/>
            <a:ext cx="1485693" cy="4485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00" b="1" dirty="0">
                <a:solidFill>
                  <a:srgbClr val="001965"/>
                </a:solidFill>
              </a:rPr>
              <a:t>December</a:t>
            </a:r>
            <a:endParaRPr lang="en-GB" sz="100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00" dirty="0">
                <a:solidFill>
                  <a:srgbClr val="001965"/>
                </a:solidFill>
              </a:rPr>
              <a:t>2 </a:t>
            </a:r>
            <a:r>
              <a:rPr lang="en-GB" sz="1000" dirty="0" err="1">
                <a:solidFill>
                  <a:srgbClr val="001965"/>
                </a:solidFill>
              </a:rPr>
              <a:t>träningar</a:t>
            </a:r>
            <a:r>
              <a:rPr lang="en-GB" sz="1000" dirty="0">
                <a:solidFill>
                  <a:srgbClr val="001965"/>
                </a:solidFill>
              </a:rPr>
              <a:t> i </a:t>
            </a:r>
            <a:r>
              <a:rPr lang="en-GB" sz="1000" dirty="0" err="1">
                <a:solidFill>
                  <a:srgbClr val="001965"/>
                </a:solidFill>
              </a:rPr>
              <a:t>veckan</a:t>
            </a:r>
            <a:endParaRPr lang="en-GB" sz="1000" dirty="0">
              <a:solidFill>
                <a:srgbClr val="001965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B2E27A-1F39-A113-2253-4B7473440E2A}"/>
              </a:ext>
            </a:extLst>
          </p:cNvPr>
          <p:cNvSpPr txBox="1"/>
          <p:nvPr/>
        </p:nvSpPr>
        <p:spPr>
          <a:xfrm>
            <a:off x="7019711" y="1912941"/>
            <a:ext cx="3860477" cy="4485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00" b="1" dirty="0" err="1">
                <a:solidFill>
                  <a:srgbClr val="001965"/>
                </a:solidFill>
              </a:rPr>
              <a:t>Februari</a:t>
            </a:r>
            <a:endParaRPr lang="en-GB" sz="100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00" dirty="0">
                <a:solidFill>
                  <a:srgbClr val="001965"/>
                </a:solidFill>
              </a:rPr>
              <a:t>2 </a:t>
            </a:r>
            <a:r>
              <a:rPr lang="en-GB" sz="1000" dirty="0" err="1">
                <a:solidFill>
                  <a:srgbClr val="001965"/>
                </a:solidFill>
              </a:rPr>
              <a:t>träningar</a:t>
            </a:r>
            <a:r>
              <a:rPr lang="en-GB" sz="1000" dirty="0">
                <a:solidFill>
                  <a:srgbClr val="001965"/>
                </a:solidFill>
              </a:rPr>
              <a:t> i </a:t>
            </a:r>
            <a:r>
              <a:rPr lang="en-GB" sz="1000" dirty="0" err="1">
                <a:solidFill>
                  <a:srgbClr val="001965"/>
                </a:solidFill>
              </a:rPr>
              <a:t>veckan</a:t>
            </a:r>
            <a:endParaRPr lang="en-GB" sz="1000" dirty="0">
              <a:solidFill>
                <a:srgbClr val="001965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95764F-139D-1067-A7D2-AC4DBB30A11A}"/>
              </a:ext>
            </a:extLst>
          </p:cNvPr>
          <p:cNvSpPr txBox="1"/>
          <p:nvPr/>
        </p:nvSpPr>
        <p:spPr>
          <a:xfrm>
            <a:off x="5847367" y="1161458"/>
            <a:ext cx="1452367" cy="4485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000" b="1" dirty="0" err="1">
                <a:solidFill>
                  <a:srgbClr val="001965"/>
                </a:solidFill>
              </a:rPr>
              <a:t>Januari</a:t>
            </a:r>
            <a:endParaRPr lang="en-GB" sz="1000" dirty="0">
              <a:solidFill>
                <a:srgbClr val="001965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000" dirty="0">
                <a:solidFill>
                  <a:srgbClr val="001965"/>
                </a:solidFill>
              </a:rPr>
              <a:t>2 </a:t>
            </a:r>
            <a:r>
              <a:rPr lang="en-GB" sz="1000" dirty="0" err="1">
                <a:solidFill>
                  <a:srgbClr val="001965"/>
                </a:solidFill>
              </a:rPr>
              <a:t>träningar</a:t>
            </a:r>
            <a:r>
              <a:rPr lang="en-GB" sz="1000" dirty="0">
                <a:solidFill>
                  <a:srgbClr val="001965"/>
                </a:solidFill>
              </a:rPr>
              <a:t> i </a:t>
            </a:r>
            <a:r>
              <a:rPr lang="en-GB" sz="1000" dirty="0" err="1">
                <a:solidFill>
                  <a:srgbClr val="001965"/>
                </a:solidFill>
              </a:rPr>
              <a:t>veckan</a:t>
            </a:r>
            <a:endParaRPr lang="en-GB" sz="1000" dirty="0">
              <a:solidFill>
                <a:srgbClr val="001965"/>
              </a:solidFill>
            </a:endParaRPr>
          </a:p>
        </p:txBody>
      </p:sp>
      <p:sp>
        <p:nvSpPr>
          <p:cNvPr id="15" name="Rektangel 36">
            <a:extLst>
              <a:ext uri="{FF2B5EF4-FFF2-40B4-BE49-F238E27FC236}">
                <a16:creationId xmlns:a16="http://schemas.microsoft.com/office/drawing/2014/main" id="{BBED5E82-395E-5BA1-F2BA-1B7FBB4218BD}"/>
              </a:ext>
            </a:extLst>
          </p:cNvPr>
          <p:cNvSpPr/>
          <p:nvPr/>
        </p:nvSpPr>
        <p:spPr>
          <a:xfrm>
            <a:off x="10014135" y="5376830"/>
            <a:ext cx="1900800" cy="1239288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FFFF80"/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Träningstider </a:t>
            </a:r>
          </a:p>
          <a:p>
            <a:pPr marL="0" marR="0" lvl="0" indent="0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Mån: 19-20.30 Konstgräs</a:t>
            </a: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Tis:   19-20.30 B-plan</a:t>
            </a: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Tors: 17.30-19 B-plan</a:t>
            </a: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9EAE003C-6297-B0BB-F322-15AD52F52780}"/>
              </a:ext>
            </a:extLst>
          </p:cNvPr>
          <p:cNvCxnSpPr>
            <a:cxnSpLocks/>
          </p:cNvCxnSpPr>
          <p:nvPr/>
        </p:nvCxnSpPr>
        <p:spPr>
          <a:xfrm>
            <a:off x="8557215" y="5721137"/>
            <a:ext cx="1330269" cy="19184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Bildobjekt 8">
            <a:extLst>
              <a:ext uri="{FF2B5EF4-FFF2-40B4-BE49-F238E27FC236}">
                <a16:creationId xmlns:a16="http://schemas.microsoft.com/office/drawing/2014/main" id="{79C6FBBF-3A7C-AC14-22BD-931B8EDCD1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0630" y="276040"/>
            <a:ext cx="1979295" cy="19704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752907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Novo Nordisk 16:9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Apis Novo Nordisk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Blank.potx" id="{E74F5A70-44BF-4AEF-9F91-978B11132E07}" vid="{565FA72A-7CC8-47B7-A269-0957194D19A6}"/>
    </a:ext>
  </a:extLst>
</a:theme>
</file>

<file path=ppt/theme/theme2.xml><?xml version="1.0" encoding="utf-8"?>
<a:theme xmlns:a="http://schemas.openxmlformats.org/drawingml/2006/main" name="Office-tema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NovoNordisk No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NovoNordisk No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TemplafyTemplateConfiguration><![CDATA[{"elementsMetadata":[{"type":"shape","id":"c9c227f4-8c26-4e0b-8322-1349491b018a","elementConfiguration":{"inheritDimensions":"{{InheritDimensions.InheritNone}}","width":"7.67 cm","height":"3.64 cm","image":"{{Form.PLogoChoice.PLogoInsertion.Image}}","visibility":"","type":"image","disableUpdates":false}},{"type":"shape","id":"80599211-5dd2-40f7-9253-167e1299118d","elementConfiguration":{"inheritDimensions":"{{InheritDimensions.InheritNone}}","width":"7.67 cm","height":"3.64 cm","image":"{{Form.PLogoChoice.PLogoInsertionWhite.Image}}","visibility":"","type":"image","disableUpdates":false}},{"type":"shape","id":"d2c74e02-72cd-4c31-bda6-0d51377b95f0","elementConfiguration":{"inheritDimensions":"{{InheritDimensions.InheritNone}}","width":"7.67 cm","height":"3.64 cm","image":"{{Form.PLogoChoice.PLogoInsertionWhite.Image}}","visibility":"","type":"image","disableUpdates":false}},{"type":"shape","id":"6bb09c38-291a-40fc-9f21-322598dbf764","elementConfiguration":{"inheritDimensions":"{{InheritDimensions.InheritNone}}","width":"7.67 cm","height":"3.64 cm","image":"{{Form.PLogoChoice.PLogoInsertion.Image}}","visibility":"","type":"image","disableUpdates":false}},{"type":"shape","id":"6d5cd887-7f8d-4ace-b0c5-176aa105823f","elementConfiguration":{"inheritDimensions":"{{InheritDimensions.InheritNone}}","width":"7.67 cm","height":"3.64 cm","image":"{{Form.PLogoChoice.PLogoInsertion.Image}}","visibility":"","type":"image","disableUpdates":false}},{"type":"shape","id":"dfaf3a11-8330-4f32-8e98-b0fe97385246","elementConfiguration":{"inheritDimensions":"{{InheritDimensions.InheritNone}}","width":"7.67 cm","height":"3.64 cm","image":"{{Form.PLogoChoice.PLogoInsertionWhite.Image}}","visibility":"","type":"image","disableUpdates":false}},{"type":"shape","id":"da84e5de-a58e-41d9-8944-b7faf5871c01","elementConfiguration":{"inheritDimensions":"{{InheritDimensions.InheritNone}}","width":"7.67 cm","height":"3.64 cm","image":"{{Form.PLogoChoice.PLogoInsertion.Image}}","visibility":"","type":"image","disableUpdates":false}},{"type":"shape","id":"707d5590-19ce-44e5-bc71-1be377f50a45","elementConfiguration":{"inheritDimensions":"{{InheritDimensions.InheritNone}}","width":"7.67 cm","height":"3.64 cm","image":"{{Form.PLogoChoice.PLogoInsertion.Image}}","visibility":"","type":"image","disableUpdates":false}},{"type":"shape","id":"3597c04d-a1d4-4db2-9518-94d467de3247","elementConfiguration":{"inheritDimensions":"{{InheritDimensions.InheritNone}}","width":"7.67 cm","height":"3.64 cm","image":"{{Form.PLogoChoice.PLogoInsertionWhite.Image}}","visibility":"","type":"image","disableUpdates":false}},{"type":"shape","id":"e14c1e8b-e5f8-4300-ad3b-146d5f4e19b1","elementConfiguration":{"inheritDimensions":"{{InheritDimensions.InheritNone}}","width":"7.67 cm","height":"3.64 cm","image":"{{Form.PLogoChoice.PLogoInsertion.Image}}","visibility":"","type":"image","disableUpdates":false}},{"type":"shape","id":"2dd1c52b-e840-4584-af80-3688139ce934","elementConfiguration":{"inheritDimensions":"{{InheritDimensions.InheritNone}}","width":"7.67 cm","height":"3.64 cm","image":"{{Form.PLogoChoice.PLogoInsertionWhite.Image}}","visibility":"","type":"image","disableUpdates":false}},{"type":"shape","id":"33916994-bb0c-44ec-a8d4-4da1879bf7d0","elementConfiguration":{"inheritDimensions":"{{InheritDimensions.InheritNone}}","width":"7.67 cm","height":"3.64 cm","image":"{{Form.PLogoChoice.PLogoInsertion.Image}}","visibility":"","type":"image","disableUpdates":false}},{"type":"shape","id":"90fd5118-93fd-4a18-96fb-0ac0f4384496","elementConfiguration":{"inheritDimensions":"{{InheritDimensions.InheritNone}}","width":"7.67 cm","height":"3.64 cm","image":"{{Form.PLogoChoice.PLogoInsertionWhite.Image}}","visibility":"","type":"image","disableUpdates":false}}],"transformationConfigurations":[],"templateName":"Novo Nordisk template","templateDescription":"","enableDocumentContentUpdater":false,"version":"2.0"}]]></TemplafyTemplateConfiguration>
</file>

<file path=customXml/item2.xml><?xml version="1.0" encoding="utf-8"?>
<TemplafyFormConfiguration><![CDATA[{"formFields":[{"distinct":false,"hideIfNoUserInteractionRequired":false,"required":false,"autoSelectFirstOption":false,"helpTexts":{},"spacing":{},"shareValue":false,"type":"dropDown","dataSourceName":"PLogoChoice","dataSourceFieldName":"LogoUI","name":"PLogoChoice","label":"Choose template version"}],"formDataEntries":[{"name":"PLogoChoice","value":"wOFjggx7WcPEsCGJ0WR8BQ=="}]}]]></TemplafyFormConfiguration>
</file>

<file path=customXml/itemProps1.xml><?xml version="1.0" encoding="utf-8"?>
<ds:datastoreItem xmlns:ds="http://schemas.openxmlformats.org/officeDocument/2006/customXml" ds:itemID="{2626F5D6-ACE2-47C9-A1D2-5866818DBE2E}">
  <ds:schemaRefs/>
</ds:datastoreItem>
</file>

<file path=customXml/itemProps2.xml><?xml version="1.0" encoding="utf-8"?>
<ds:datastoreItem xmlns:ds="http://schemas.openxmlformats.org/officeDocument/2006/customXml" ds:itemID="{C7E8FC0E-283E-401E-B8A8-87907F3228F6}">
  <ds:schemaRefs/>
</ds:datastoreItem>
</file>

<file path=docMetadata/LabelInfo.xml><?xml version="1.0" encoding="utf-8"?>
<clbl:labelList xmlns:clbl="http://schemas.microsoft.com/office/2020/mipLabelMetadata">
  <clbl:label id="{f743b317-4758-44cb-8b65-8b43e4619766}" enabled="1" method="Standard" siteId="{fdfed7bd-9f6a-44a1-b694-6e39c468c150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7</TotalTime>
  <Words>128</Words>
  <Application>Microsoft Office PowerPoint</Application>
  <PresentationFormat>Widescreen</PresentationFormat>
  <Paragraphs>5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pis For Office Light</vt:lpstr>
      <vt:lpstr>Apis For Office</vt:lpstr>
      <vt:lpstr>Calibri</vt:lpstr>
      <vt:lpstr>Novo Nordisk 16:9</vt:lpstr>
      <vt:lpstr>think-cell Slide</vt:lpstr>
      <vt:lpstr>Årshjul p12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QMKR (Martin Karlsson)</dc:creator>
  <cp:lastModifiedBy>QMKR (Martin Karlsson)</cp:lastModifiedBy>
  <cp:revision>9</cp:revision>
  <dcterms:created xsi:type="dcterms:W3CDTF">2025-02-11T15:02:51Z</dcterms:created>
  <dcterms:modified xsi:type="dcterms:W3CDTF">2025-10-08T15:3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4-10-25T09:29:38</vt:lpwstr>
  </property>
  <property fmtid="{D5CDD505-2E9C-101B-9397-08002B2CF9AE}" pid="3" name="TemplafyTenantId">
    <vt:lpwstr>novonordisk</vt:lpwstr>
  </property>
  <property fmtid="{D5CDD505-2E9C-101B-9397-08002B2CF9AE}" pid="4" name="TemplafyTemplateId">
    <vt:lpwstr>1034136874765255028</vt:lpwstr>
  </property>
  <property fmtid="{D5CDD505-2E9C-101B-9397-08002B2CF9AE}" pid="5" name="TemplafyUserProfileId">
    <vt:lpwstr>1014098387248611578</vt:lpwstr>
  </property>
  <property fmtid="{D5CDD505-2E9C-101B-9397-08002B2CF9AE}" pid="6" name="TemplafyLanguageCode">
    <vt:lpwstr>en-GB</vt:lpwstr>
  </property>
  <property fmtid="{D5CDD505-2E9C-101B-9397-08002B2CF9AE}" pid="7" name="TemplafyFromBlank">
    <vt:bool>true</vt:bool>
  </property>
</Properties>
</file>